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notesSlides/notesSlide3.xml" ContentType="application/vnd.openxmlformats-officedocument.presentationml.notesSlide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tags/tag39.xml" ContentType="application/vnd.openxmlformats-officedocument.presentationml.tags+xml"/>
  <Override PartName="/ppt/notesSlides/notesSlide8.xml" ContentType="application/vnd.openxmlformats-officedocument.presentationml.notesSlide+xml"/>
  <Override PartName="/ppt/tags/tag40.xml" ContentType="application/vnd.openxmlformats-officedocument.presentationml.tags+xml"/>
  <Override PartName="/ppt/notesSlides/notesSlide9.xml" ContentType="application/vnd.openxmlformats-officedocument.presentationml.notesSlide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tags/tag42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3.xml" ContentType="application/vnd.openxmlformats-officedocument.presentationml.tags+xml"/>
  <Override PartName="/ppt/notesSlides/notesSlide12.xml" ContentType="application/vnd.openxmlformats-officedocument.presentationml.notesSlide+xml"/>
  <Override PartName="/ppt/tags/tag44.xml" ContentType="application/vnd.openxmlformats-officedocument.presentationml.tags+xml"/>
  <Override PartName="/ppt/notesSlides/notesSlide13.xml" ContentType="application/vnd.openxmlformats-officedocument.presentationml.notesSlide+xml"/>
  <Override PartName="/ppt/tags/tag45.xml" ContentType="application/vnd.openxmlformats-officedocument.presentationml.tags+xml"/>
  <Override PartName="/ppt/notesSlides/notesSlide14.xml" ContentType="application/vnd.openxmlformats-officedocument.presentationml.notesSlide+xml"/>
  <Override PartName="/ppt/tags/tag46.xml" ContentType="application/vnd.openxmlformats-officedocument.presentationml.tags+xml"/>
  <Override PartName="/ppt/notesSlides/notesSlide15.xml" ContentType="application/vnd.openxmlformats-officedocument.presentationml.notesSlide+xml"/>
  <Override PartName="/ppt/tags/tag47.xml" ContentType="application/vnd.openxmlformats-officedocument.presentationml.tags+xml"/>
  <Override PartName="/ppt/notesSlides/notesSlide16.xml" ContentType="application/vnd.openxmlformats-officedocument.presentationml.notesSlide+xml"/>
  <Override PartName="/ppt/tags/tag48.xml" ContentType="application/vnd.openxmlformats-officedocument.presentationml.tags+xml"/>
  <Override PartName="/ppt/notesSlides/notesSlide17.xml" ContentType="application/vnd.openxmlformats-officedocument.presentationml.notesSlide+xml"/>
  <Override PartName="/ppt/tags/tag49.xml" ContentType="application/vnd.openxmlformats-officedocument.presentationml.tags+xml"/>
  <Override PartName="/ppt/notesSlides/notesSlide1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50.xml" ContentType="application/vnd.openxmlformats-officedocument.presentationml.tags+xml"/>
  <Override PartName="/ppt/notesSlides/notesSlide19.xml" ContentType="application/vnd.openxmlformats-officedocument.presentationml.notesSlide+xml"/>
  <Override PartName="/ppt/tags/tag51.xml" ContentType="application/vnd.openxmlformats-officedocument.presentationml.tags+xml"/>
  <Override PartName="/ppt/notesSlides/notesSlide20.xml" ContentType="application/vnd.openxmlformats-officedocument.presentationml.notesSlide+xml"/>
  <Override PartName="/ppt/tags/tag52.xml" ContentType="application/vnd.openxmlformats-officedocument.presentationml.tags+xml"/>
  <Override PartName="/ppt/notesSlides/notesSlide21.xml" ContentType="application/vnd.openxmlformats-officedocument.presentationml.notesSlide+xml"/>
  <Override PartName="/ppt/tags/tag53.xml" ContentType="application/vnd.openxmlformats-officedocument.presentationml.tags+xml"/>
  <Override PartName="/ppt/notesSlides/notesSlide22.xml" ContentType="application/vnd.openxmlformats-officedocument.presentationml.notesSlide+xml"/>
  <Override PartName="/ppt/tags/tag54.xml" ContentType="application/vnd.openxmlformats-officedocument.presentationml.tags+xml"/>
  <Override PartName="/ppt/notesSlides/notesSlide23.xml" ContentType="application/vnd.openxmlformats-officedocument.presentationml.notesSlide+xml"/>
  <Override PartName="/ppt/tags/tag55.xml" ContentType="application/vnd.openxmlformats-officedocument.presentationml.tags+xml"/>
  <Override PartName="/ppt/notesSlides/notesSlide24.xml" ContentType="application/vnd.openxmlformats-officedocument.presentationml.notesSlide+xml"/>
  <Override PartName="/ppt/tags/tag56.xml" ContentType="application/vnd.openxmlformats-officedocument.presentationml.tags+xml"/>
  <Override PartName="/ppt/notesSlides/notesSlide25.xml" ContentType="application/vnd.openxmlformats-officedocument.presentationml.notesSlide+xml"/>
  <Override PartName="/ppt/tags/tag57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58.xml" ContentType="application/vnd.openxmlformats-officedocument.presentationml.tags+xml"/>
  <Override PartName="/ppt/notesSlides/notesSlide28.xml" ContentType="application/vnd.openxmlformats-officedocument.presentationml.notesSlide+xml"/>
  <Override PartName="/ppt/tags/tag59.xml" ContentType="application/vnd.openxmlformats-officedocument.presentationml.tags+xml"/>
  <Override PartName="/ppt/notesSlides/notesSlide29.xml" ContentType="application/vnd.openxmlformats-officedocument.presentationml.notesSlide+xml"/>
  <Override PartName="/ppt/tags/tag60.xml" ContentType="application/vnd.openxmlformats-officedocument.presentationml.tags+xml"/>
  <Override PartName="/ppt/notesSlides/notesSlide30.xml" ContentType="application/vnd.openxmlformats-officedocument.presentationml.notesSlide+xml"/>
  <Override PartName="/ppt/tags/tag61.xml" ContentType="application/vnd.openxmlformats-officedocument.presentationml.tags+xml"/>
  <Override PartName="/ppt/notesSlides/notesSlide31.xml" ContentType="application/vnd.openxmlformats-officedocument.presentationml.notesSlide+xml"/>
  <Override PartName="/ppt/tags/tag62.xml" ContentType="application/vnd.openxmlformats-officedocument.presentationml.tags+xml"/>
  <Override PartName="/ppt/notesSlides/notesSlide32.xml" ContentType="application/vnd.openxmlformats-officedocument.presentationml.notesSlide+xml"/>
  <Override PartName="/ppt/tags/tag63.xml" ContentType="application/vnd.openxmlformats-officedocument.presentationml.tags+xml"/>
  <Override PartName="/ppt/notesSlides/notesSlide33.xml" ContentType="application/vnd.openxmlformats-officedocument.presentationml.notesSlide+xml"/>
  <Override PartName="/ppt/tags/tag64.xml" ContentType="application/vnd.openxmlformats-officedocument.presentationml.tags+xml"/>
  <Override PartName="/ppt/notesSlides/notesSlide34.xml" ContentType="application/vnd.openxmlformats-officedocument.presentationml.notesSlide+xml"/>
  <Override PartName="/ppt/tags/tag65.xml" ContentType="application/vnd.openxmlformats-officedocument.presentationml.tags+xml"/>
  <Override PartName="/ppt/notesSlides/notesSlide35.xml" ContentType="application/vnd.openxmlformats-officedocument.presentationml.notesSlide+xml"/>
  <Override PartName="/ppt/tags/tag66.xml" ContentType="application/vnd.openxmlformats-officedocument.presentationml.tags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tags/tag67.xml" ContentType="application/vnd.openxmlformats-officedocument.presentationml.tags+xml"/>
  <Override PartName="/ppt/notesSlides/notesSlide38.xml" ContentType="application/vnd.openxmlformats-officedocument.presentationml.notesSlide+xml"/>
  <Override PartName="/ppt/tags/tag68.xml" ContentType="application/vnd.openxmlformats-officedocument.presentationml.tags+xml"/>
  <Override PartName="/ppt/notesSlides/notesSlide39.xml" ContentType="application/vnd.openxmlformats-officedocument.presentationml.notesSlide+xml"/>
  <Override PartName="/ppt/tags/tag69.xml" ContentType="application/vnd.openxmlformats-officedocument.presentationml.tags+xml"/>
  <Override PartName="/ppt/notesSlides/notesSlide40.xml" ContentType="application/vnd.openxmlformats-officedocument.presentationml.notesSlide+xml"/>
  <Override PartName="/ppt/tags/tag70.xml" ContentType="application/vnd.openxmlformats-officedocument.presentationml.tags+xml"/>
  <Override PartName="/ppt/notesSlides/notesSlide41.xml" ContentType="application/vnd.openxmlformats-officedocument.presentationml.notesSlide+xml"/>
  <Override PartName="/ppt/tags/tag71.xml" ContentType="application/vnd.openxmlformats-officedocument.presentationml.tags+xml"/>
  <Override PartName="/ppt/notesSlides/notesSlide4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83" r:id="rId5"/>
  </p:sldMasterIdLst>
  <p:notesMasterIdLst>
    <p:notesMasterId r:id="rId51"/>
  </p:notesMasterIdLst>
  <p:handoutMasterIdLst>
    <p:handoutMasterId r:id="rId52"/>
  </p:handoutMasterIdLst>
  <p:sldIdLst>
    <p:sldId id="256" r:id="rId6"/>
    <p:sldId id="2147472956" r:id="rId7"/>
    <p:sldId id="2147472957" r:id="rId8"/>
    <p:sldId id="2147472958" r:id="rId9"/>
    <p:sldId id="2147472959" r:id="rId10"/>
    <p:sldId id="2147472961" r:id="rId11"/>
    <p:sldId id="2147472962" r:id="rId12"/>
    <p:sldId id="2147472966" r:id="rId13"/>
    <p:sldId id="2147472967" r:id="rId14"/>
    <p:sldId id="2147472968" r:id="rId15"/>
    <p:sldId id="2147472969" r:id="rId16"/>
    <p:sldId id="2147472970" r:id="rId17"/>
    <p:sldId id="2147472974" r:id="rId18"/>
    <p:sldId id="2147472975" r:id="rId19"/>
    <p:sldId id="2147472976" r:id="rId20"/>
    <p:sldId id="2147472977" r:id="rId21"/>
    <p:sldId id="2147472978" r:id="rId22"/>
    <p:sldId id="2147472979" r:id="rId23"/>
    <p:sldId id="2147472980" r:id="rId24"/>
    <p:sldId id="2147472985" r:id="rId25"/>
    <p:sldId id="2147472986" r:id="rId26"/>
    <p:sldId id="2147472987" r:id="rId27"/>
    <p:sldId id="2147472988" r:id="rId28"/>
    <p:sldId id="2147472989" r:id="rId29"/>
    <p:sldId id="2147472990" r:id="rId30"/>
    <p:sldId id="2147472991" r:id="rId31"/>
    <p:sldId id="2147472994" r:id="rId32"/>
    <p:sldId id="2147472995" r:id="rId33"/>
    <p:sldId id="2147472768" r:id="rId34"/>
    <p:sldId id="2147472769" r:id="rId35"/>
    <p:sldId id="2147472770" r:id="rId36"/>
    <p:sldId id="2147472771" r:id="rId37"/>
    <p:sldId id="2147472772" r:id="rId38"/>
    <p:sldId id="2147473006" r:id="rId39"/>
    <p:sldId id="2147472776" r:id="rId40"/>
    <p:sldId id="2147472777" r:id="rId41"/>
    <p:sldId id="2147472778" r:id="rId42"/>
    <p:sldId id="2147472779" r:id="rId43"/>
    <p:sldId id="2147472828" r:id="rId44"/>
    <p:sldId id="2147475064" r:id="rId45"/>
    <p:sldId id="2147472781" r:id="rId46"/>
    <p:sldId id="2147472782" r:id="rId47"/>
    <p:sldId id="2147472783" r:id="rId48"/>
    <p:sldId id="2147472784" r:id="rId49"/>
    <p:sldId id="274" r:id="rId5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754"/>
    <a:srgbClr val="004F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73C69F-9FA4-4BB2-AFA3-DCC9F278D1E1}" v="37" dt="2025-09-12T09:21:17.88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 showGuides="1">
      <p:cViewPr varScale="1">
        <p:scale>
          <a:sx n="70" d="100"/>
          <a:sy n="70" d="100"/>
        </p:scale>
        <p:origin x="1166" y="2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7" d="100"/>
          <a:sy n="77" d="100"/>
        </p:scale>
        <p:origin x="1940" y="8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microsoft.com/office/2016/11/relationships/changesInfo" Target="changesInfos/changesInfo1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tma Alsagaf" userId="ef587b5e-378a-4bb3-aa9f-3c15b98138a4" providerId="ADAL" clId="{DF3BA568-798C-49D0-8FA8-7ED7A0B42218}"/>
    <pc:docChg chg="undo custSel modSld">
      <pc:chgData name="Fatma Alsagaf" userId="ef587b5e-378a-4bb3-aa9f-3c15b98138a4" providerId="ADAL" clId="{DF3BA568-798C-49D0-8FA8-7ED7A0B42218}" dt="2025-08-21T13:04:28.263" v="361" actId="20577"/>
      <pc:docMkLst>
        <pc:docMk/>
      </pc:docMkLst>
      <pc:sldChg chg="modSp mod">
        <pc:chgData name="Fatma Alsagaf" userId="ef587b5e-378a-4bb3-aa9f-3c15b98138a4" providerId="ADAL" clId="{DF3BA568-798C-49D0-8FA8-7ED7A0B42218}" dt="2025-08-21T13:04:28.263" v="361" actId="20577"/>
        <pc:sldMkLst>
          <pc:docMk/>
          <pc:sldMk cId="198709180" sldId="256"/>
        </pc:sldMkLst>
        <pc:spChg chg="mod">
          <ac:chgData name="Fatma Alsagaf" userId="ef587b5e-378a-4bb3-aa9f-3c15b98138a4" providerId="ADAL" clId="{DF3BA568-798C-49D0-8FA8-7ED7A0B42218}" dt="2025-08-21T13:04:28.263" v="361" actId="20577"/>
          <ac:spMkLst>
            <pc:docMk/>
            <pc:sldMk cId="198709180" sldId="256"/>
            <ac:spMk id="7" creationId="{98B54786-585B-286D-FDA5-658A362E3436}"/>
          </ac:spMkLst>
        </pc:spChg>
      </pc:sldChg>
      <pc:sldChg chg="modSp mod">
        <pc:chgData name="Fatma Alsagaf" userId="ef587b5e-378a-4bb3-aa9f-3c15b98138a4" providerId="ADAL" clId="{DF3BA568-798C-49D0-8FA8-7ED7A0B42218}" dt="2025-08-06T12:37:34.520" v="293" actId="20577"/>
        <pc:sldMkLst>
          <pc:docMk/>
          <pc:sldMk cId="2030895402" sldId="274"/>
        </pc:sldMkLst>
        <pc:spChg chg="mod">
          <ac:chgData name="Fatma Alsagaf" userId="ef587b5e-378a-4bb3-aa9f-3c15b98138a4" providerId="ADAL" clId="{DF3BA568-798C-49D0-8FA8-7ED7A0B42218}" dt="2025-08-06T12:37:34.520" v="293" actId="20577"/>
          <ac:spMkLst>
            <pc:docMk/>
            <pc:sldMk cId="2030895402" sldId="274"/>
            <ac:spMk id="8" creationId="{92D75785-0C54-EEFA-56A5-19041821F289}"/>
          </ac:spMkLst>
        </pc:spChg>
      </pc:sldChg>
      <pc:sldChg chg="modSp modAnim">
        <pc:chgData name="Fatma Alsagaf" userId="ef587b5e-378a-4bb3-aa9f-3c15b98138a4" providerId="ADAL" clId="{DF3BA568-798C-49D0-8FA8-7ED7A0B42218}" dt="2025-08-07T13:18:24.426" v="328"/>
        <pc:sldMkLst>
          <pc:docMk/>
          <pc:sldMk cId="3626355901" sldId="2147472751"/>
        </pc:sldMkLst>
      </pc:sldChg>
      <pc:sldChg chg="modSp modAnim modNotesTx">
        <pc:chgData name="Fatma Alsagaf" userId="ef587b5e-378a-4bb3-aa9f-3c15b98138a4" providerId="ADAL" clId="{DF3BA568-798C-49D0-8FA8-7ED7A0B42218}" dt="2025-08-07T13:18:53.403" v="347" actId="20577"/>
        <pc:sldMkLst>
          <pc:docMk/>
          <pc:sldMk cId="3287757105" sldId="2147472752"/>
        </pc:sldMkLst>
      </pc:sldChg>
    </pc:docChg>
  </pc:docChgLst>
  <pc:docChgLst>
    <pc:chgData name="Fatma Alsagaf" userId="ef587b5e-378a-4bb3-aa9f-3c15b98138a4" providerId="ADAL" clId="{0473C69F-9FA4-4BB2-AFA3-DCC9F278D1E1}"/>
    <pc:docChg chg="undo redo custSel addSld delSld modSld sldOrd">
      <pc:chgData name="Fatma Alsagaf" userId="ef587b5e-378a-4bb3-aa9f-3c15b98138a4" providerId="ADAL" clId="{0473C69F-9FA4-4BB2-AFA3-DCC9F278D1E1}" dt="2025-09-12T09:21:17.886" v="230"/>
      <pc:docMkLst>
        <pc:docMk/>
      </pc:docMkLst>
      <pc:sldChg chg="modSp mod">
        <pc:chgData name="Fatma Alsagaf" userId="ef587b5e-378a-4bb3-aa9f-3c15b98138a4" providerId="ADAL" clId="{0473C69F-9FA4-4BB2-AFA3-DCC9F278D1E1}" dt="2025-09-12T09:13:09.417" v="154" actId="20577"/>
        <pc:sldMkLst>
          <pc:docMk/>
          <pc:sldMk cId="198709180" sldId="256"/>
        </pc:sldMkLst>
        <pc:spChg chg="mod">
          <ac:chgData name="Fatma Alsagaf" userId="ef587b5e-378a-4bb3-aa9f-3c15b98138a4" providerId="ADAL" clId="{0473C69F-9FA4-4BB2-AFA3-DCC9F278D1E1}" dt="2025-09-08T13:04:07.993" v="3" actId="20577"/>
          <ac:spMkLst>
            <pc:docMk/>
            <pc:sldMk cId="198709180" sldId="256"/>
            <ac:spMk id="5" creationId="{D3097811-FFDF-0D94-F3F2-C77967D53A3D}"/>
          </ac:spMkLst>
        </pc:spChg>
        <pc:spChg chg="mod">
          <ac:chgData name="Fatma Alsagaf" userId="ef587b5e-378a-4bb3-aa9f-3c15b98138a4" providerId="ADAL" clId="{0473C69F-9FA4-4BB2-AFA3-DCC9F278D1E1}" dt="2025-09-12T09:13:09.417" v="154" actId="20577"/>
          <ac:spMkLst>
            <pc:docMk/>
            <pc:sldMk cId="198709180" sldId="256"/>
            <ac:spMk id="7" creationId="{98B54786-585B-286D-FDA5-658A362E3436}"/>
          </ac:spMkLst>
        </pc:spChg>
      </pc:sldChg>
      <pc:sldChg chg="del">
        <pc:chgData name="Fatma Alsagaf" userId="ef587b5e-378a-4bb3-aa9f-3c15b98138a4" providerId="ADAL" clId="{0473C69F-9FA4-4BB2-AFA3-DCC9F278D1E1}" dt="2025-09-12T09:12:22.031" v="128" actId="47"/>
        <pc:sldMkLst>
          <pc:docMk/>
          <pc:sldMk cId="711853774" sldId="263"/>
        </pc:sldMkLst>
      </pc:sldChg>
      <pc:sldChg chg="del">
        <pc:chgData name="Fatma Alsagaf" userId="ef587b5e-378a-4bb3-aa9f-3c15b98138a4" providerId="ADAL" clId="{0473C69F-9FA4-4BB2-AFA3-DCC9F278D1E1}" dt="2025-09-12T09:12:23.128" v="129" actId="47"/>
        <pc:sldMkLst>
          <pc:docMk/>
          <pc:sldMk cId="1282756989" sldId="264"/>
        </pc:sldMkLst>
      </pc:sldChg>
      <pc:sldChg chg="del">
        <pc:chgData name="Fatma Alsagaf" userId="ef587b5e-378a-4bb3-aa9f-3c15b98138a4" providerId="ADAL" clId="{0473C69F-9FA4-4BB2-AFA3-DCC9F278D1E1}" dt="2025-09-12T09:12:24.713" v="130" actId="47"/>
        <pc:sldMkLst>
          <pc:docMk/>
          <pc:sldMk cId="2416139910" sldId="275"/>
        </pc:sldMkLst>
      </pc:sldChg>
      <pc:sldChg chg="del">
        <pc:chgData name="Fatma Alsagaf" userId="ef587b5e-378a-4bb3-aa9f-3c15b98138a4" providerId="ADAL" clId="{0473C69F-9FA4-4BB2-AFA3-DCC9F278D1E1}" dt="2025-09-12T09:12:28.718" v="132" actId="47"/>
        <pc:sldMkLst>
          <pc:docMk/>
          <pc:sldMk cId="2988757502" sldId="2147378629"/>
        </pc:sldMkLst>
      </pc:sldChg>
      <pc:sldChg chg="del">
        <pc:chgData name="Fatma Alsagaf" userId="ef587b5e-378a-4bb3-aa9f-3c15b98138a4" providerId="ADAL" clId="{0473C69F-9FA4-4BB2-AFA3-DCC9F278D1E1}" dt="2025-09-12T09:12:30.069" v="133" actId="47"/>
        <pc:sldMkLst>
          <pc:docMk/>
          <pc:sldMk cId="78340602" sldId="2147378630"/>
        </pc:sldMkLst>
      </pc:sldChg>
      <pc:sldChg chg="del">
        <pc:chgData name="Fatma Alsagaf" userId="ef587b5e-378a-4bb3-aa9f-3c15b98138a4" providerId="ADAL" clId="{0473C69F-9FA4-4BB2-AFA3-DCC9F278D1E1}" dt="2025-09-12T09:12:31.486" v="134" actId="47"/>
        <pc:sldMkLst>
          <pc:docMk/>
          <pc:sldMk cId="425199607" sldId="2147378631"/>
        </pc:sldMkLst>
      </pc:sldChg>
      <pc:sldChg chg="del">
        <pc:chgData name="Fatma Alsagaf" userId="ef587b5e-378a-4bb3-aa9f-3c15b98138a4" providerId="ADAL" clId="{0473C69F-9FA4-4BB2-AFA3-DCC9F278D1E1}" dt="2025-09-12T09:12:32.274" v="135" actId="47"/>
        <pc:sldMkLst>
          <pc:docMk/>
          <pc:sldMk cId="1014985269" sldId="2147378632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2177250662" sldId="2147378783"/>
        </pc:sldMkLst>
      </pc:sldChg>
      <pc:sldChg chg="del">
        <pc:chgData name="Fatma Alsagaf" userId="ef587b5e-378a-4bb3-aa9f-3c15b98138a4" providerId="ADAL" clId="{0473C69F-9FA4-4BB2-AFA3-DCC9F278D1E1}" dt="2025-09-12T09:12:37.216" v="139" actId="47"/>
        <pc:sldMkLst>
          <pc:docMk/>
          <pc:sldMk cId="3626355901" sldId="2147472751"/>
        </pc:sldMkLst>
      </pc:sldChg>
      <pc:sldChg chg="del">
        <pc:chgData name="Fatma Alsagaf" userId="ef587b5e-378a-4bb3-aa9f-3c15b98138a4" providerId="ADAL" clId="{0473C69F-9FA4-4BB2-AFA3-DCC9F278D1E1}" dt="2025-09-12T09:12:38.271" v="140" actId="47"/>
        <pc:sldMkLst>
          <pc:docMk/>
          <pc:sldMk cId="3287757105" sldId="2147472752"/>
        </pc:sldMkLst>
      </pc:sldChg>
      <pc:sldChg chg="add del">
        <pc:chgData name="Fatma Alsagaf" userId="ef587b5e-378a-4bb3-aa9f-3c15b98138a4" providerId="ADAL" clId="{0473C69F-9FA4-4BB2-AFA3-DCC9F278D1E1}" dt="2025-09-12T08:58:01.346" v="27" actId="47"/>
        <pc:sldMkLst>
          <pc:docMk/>
          <pc:sldMk cId="4264938269" sldId="2147472763"/>
        </pc:sldMkLst>
      </pc:sldChg>
      <pc:sldChg chg="addSp delSp modSp add mod">
        <pc:chgData name="Fatma Alsagaf" userId="ef587b5e-378a-4bb3-aa9f-3c15b98138a4" providerId="ADAL" clId="{0473C69F-9FA4-4BB2-AFA3-DCC9F278D1E1}" dt="2025-09-12T09:19:53.145" v="210"/>
        <pc:sldMkLst>
          <pc:docMk/>
          <pc:sldMk cId="1124794101" sldId="2147472768"/>
        </pc:sldMkLst>
        <pc:picChg chg="add mod">
          <ac:chgData name="Fatma Alsagaf" userId="ef587b5e-378a-4bb3-aa9f-3c15b98138a4" providerId="ADAL" clId="{0473C69F-9FA4-4BB2-AFA3-DCC9F278D1E1}" dt="2025-09-12T09:19:53.145" v="210"/>
          <ac:picMkLst>
            <pc:docMk/>
            <pc:sldMk cId="1124794101" sldId="2147472768"/>
            <ac:picMk id="3" creationId="{B9F25CBA-9B7F-3598-91E7-1650D1066FAD}"/>
          </ac:picMkLst>
        </pc:picChg>
        <pc:picChg chg="del mod">
          <ac:chgData name="Fatma Alsagaf" userId="ef587b5e-378a-4bb3-aa9f-3c15b98138a4" providerId="ADAL" clId="{0473C69F-9FA4-4BB2-AFA3-DCC9F278D1E1}" dt="2025-09-12T09:19:52.852" v="209" actId="478"/>
          <ac:picMkLst>
            <pc:docMk/>
            <pc:sldMk cId="1124794101" sldId="2147472768"/>
            <ac:picMk id="7" creationId="{1AD67B25-4A42-8763-AF42-44A51F7BC439}"/>
          </ac:picMkLst>
        </pc:picChg>
      </pc:sldChg>
      <pc:sldChg chg="modSp add mod">
        <pc:chgData name="Fatma Alsagaf" userId="ef587b5e-378a-4bb3-aa9f-3c15b98138a4" providerId="ADAL" clId="{0473C69F-9FA4-4BB2-AFA3-DCC9F278D1E1}" dt="2025-09-12T09:15:47.255" v="180" actId="14100"/>
        <pc:sldMkLst>
          <pc:docMk/>
          <pc:sldMk cId="1116685865" sldId="2147472769"/>
        </pc:sldMkLst>
        <pc:picChg chg="mod">
          <ac:chgData name="Fatma Alsagaf" userId="ef587b5e-378a-4bb3-aa9f-3c15b98138a4" providerId="ADAL" clId="{0473C69F-9FA4-4BB2-AFA3-DCC9F278D1E1}" dt="2025-09-12T09:15:47.255" v="180" actId="14100"/>
          <ac:picMkLst>
            <pc:docMk/>
            <pc:sldMk cId="1116685865" sldId="2147472769"/>
            <ac:picMk id="18" creationId="{8F105CF3-D94C-F659-3172-F8DBA36B179D}"/>
          </ac:picMkLst>
        </pc:picChg>
      </pc:sldChg>
      <pc:sldChg chg="addSp delSp modSp add mod">
        <pc:chgData name="Fatma Alsagaf" userId="ef587b5e-378a-4bb3-aa9f-3c15b98138a4" providerId="ADAL" clId="{0473C69F-9FA4-4BB2-AFA3-DCC9F278D1E1}" dt="2025-09-12T09:15:53.154" v="182"/>
        <pc:sldMkLst>
          <pc:docMk/>
          <pc:sldMk cId="3657957733" sldId="2147472770"/>
        </pc:sldMkLst>
        <pc:picChg chg="add mod">
          <ac:chgData name="Fatma Alsagaf" userId="ef587b5e-378a-4bb3-aa9f-3c15b98138a4" providerId="ADAL" clId="{0473C69F-9FA4-4BB2-AFA3-DCC9F278D1E1}" dt="2025-09-12T09:15:53.154" v="182"/>
          <ac:picMkLst>
            <pc:docMk/>
            <pc:sldMk cId="3657957733" sldId="2147472770"/>
            <ac:picMk id="3" creationId="{51CA56E8-D2BE-7C7A-7054-4AA1D4706616}"/>
          </ac:picMkLst>
        </pc:picChg>
        <pc:picChg chg="del">
          <ac:chgData name="Fatma Alsagaf" userId="ef587b5e-378a-4bb3-aa9f-3c15b98138a4" providerId="ADAL" clId="{0473C69F-9FA4-4BB2-AFA3-DCC9F278D1E1}" dt="2025-09-12T09:15:52.290" v="181" actId="478"/>
          <ac:picMkLst>
            <pc:docMk/>
            <pc:sldMk cId="3657957733" sldId="2147472770"/>
            <ac:picMk id="18" creationId="{8F105CF3-D94C-F659-3172-F8DBA36B179D}"/>
          </ac:picMkLst>
        </pc:picChg>
      </pc:sldChg>
      <pc:sldChg chg="addSp delSp modSp add mod">
        <pc:chgData name="Fatma Alsagaf" userId="ef587b5e-378a-4bb3-aa9f-3c15b98138a4" providerId="ADAL" clId="{0473C69F-9FA4-4BB2-AFA3-DCC9F278D1E1}" dt="2025-09-12T09:15:58.267" v="184"/>
        <pc:sldMkLst>
          <pc:docMk/>
          <pc:sldMk cId="1471744307" sldId="2147472771"/>
        </pc:sldMkLst>
        <pc:picChg chg="add mod">
          <ac:chgData name="Fatma Alsagaf" userId="ef587b5e-378a-4bb3-aa9f-3c15b98138a4" providerId="ADAL" clId="{0473C69F-9FA4-4BB2-AFA3-DCC9F278D1E1}" dt="2025-09-12T09:15:58.267" v="184"/>
          <ac:picMkLst>
            <pc:docMk/>
            <pc:sldMk cId="1471744307" sldId="2147472771"/>
            <ac:picMk id="3" creationId="{BF996244-2494-3ED8-4BF9-EC4F63C98AB1}"/>
          </ac:picMkLst>
        </pc:picChg>
        <pc:picChg chg="del">
          <ac:chgData name="Fatma Alsagaf" userId="ef587b5e-378a-4bb3-aa9f-3c15b98138a4" providerId="ADAL" clId="{0473C69F-9FA4-4BB2-AFA3-DCC9F278D1E1}" dt="2025-09-12T09:15:57.777" v="183" actId="478"/>
          <ac:picMkLst>
            <pc:docMk/>
            <pc:sldMk cId="1471744307" sldId="2147472771"/>
            <ac:picMk id="18" creationId="{8F105CF3-D94C-F659-3172-F8DBA36B179D}"/>
          </ac:picMkLst>
        </pc:picChg>
      </pc:sldChg>
      <pc:sldChg chg="addSp delSp modSp add mod">
        <pc:chgData name="Fatma Alsagaf" userId="ef587b5e-378a-4bb3-aa9f-3c15b98138a4" providerId="ADAL" clId="{0473C69F-9FA4-4BB2-AFA3-DCC9F278D1E1}" dt="2025-09-12T09:16:03.685" v="186"/>
        <pc:sldMkLst>
          <pc:docMk/>
          <pc:sldMk cId="487970884" sldId="2147472772"/>
        </pc:sldMkLst>
        <pc:picChg chg="add mod">
          <ac:chgData name="Fatma Alsagaf" userId="ef587b5e-378a-4bb3-aa9f-3c15b98138a4" providerId="ADAL" clId="{0473C69F-9FA4-4BB2-AFA3-DCC9F278D1E1}" dt="2025-09-12T09:16:03.685" v="186"/>
          <ac:picMkLst>
            <pc:docMk/>
            <pc:sldMk cId="487970884" sldId="2147472772"/>
            <ac:picMk id="3" creationId="{5D5DC03E-0891-2C1B-71AF-8B5F21AC953B}"/>
          </ac:picMkLst>
        </pc:picChg>
        <pc:picChg chg="del">
          <ac:chgData name="Fatma Alsagaf" userId="ef587b5e-378a-4bb3-aa9f-3c15b98138a4" providerId="ADAL" clId="{0473C69F-9FA4-4BB2-AFA3-DCC9F278D1E1}" dt="2025-09-12T09:16:03.442" v="185" actId="478"/>
          <ac:picMkLst>
            <pc:docMk/>
            <pc:sldMk cId="487970884" sldId="2147472772"/>
            <ac:picMk id="18" creationId="{8F105CF3-D94C-F659-3172-F8DBA36B179D}"/>
          </ac:picMkLst>
        </pc:picChg>
      </pc:sldChg>
      <pc:sldChg chg="add del">
        <pc:chgData name="Fatma Alsagaf" userId="ef587b5e-378a-4bb3-aa9f-3c15b98138a4" providerId="ADAL" clId="{0473C69F-9FA4-4BB2-AFA3-DCC9F278D1E1}" dt="2025-09-12T08:58:01.730" v="28" actId="47"/>
        <pc:sldMkLst>
          <pc:docMk/>
          <pc:sldMk cId="182425391" sldId="2147472775"/>
        </pc:sldMkLst>
      </pc:sldChg>
      <pc:sldChg chg="addSp delSp modSp add mod">
        <pc:chgData name="Fatma Alsagaf" userId="ef587b5e-378a-4bb3-aa9f-3c15b98138a4" providerId="ADAL" clId="{0473C69F-9FA4-4BB2-AFA3-DCC9F278D1E1}" dt="2025-09-12T09:18:48.544" v="199"/>
        <pc:sldMkLst>
          <pc:docMk/>
          <pc:sldMk cId="714975620" sldId="2147472776"/>
        </pc:sldMkLst>
        <pc:picChg chg="add mod">
          <ac:chgData name="Fatma Alsagaf" userId="ef587b5e-378a-4bb3-aa9f-3c15b98138a4" providerId="ADAL" clId="{0473C69F-9FA4-4BB2-AFA3-DCC9F278D1E1}" dt="2025-09-12T09:18:48.544" v="199"/>
          <ac:picMkLst>
            <pc:docMk/>
            <pc:sldMk cId="714975620" sldId="2147472776"/>
            <ac:picMk id="2" creationId="{F8012FBA-ADB0-0E66-901B-2A5128A752B7}"/>
          </ac:picMkLst>
        </pc:picChg>
        <pc:picChg chg="add del mod">
          <ac:chgData name="Fatma Alsagaf" userId="ef587b5e-378a-4bb3-aa9f-3c15b98138a4" providerId="ADAL" clId="{0473C69F-9FA4-4BB2-AFA3-DCC9F278D1E1}" dt="2025-09-12T09:18:48.266" v="198" actId="478"/>
          <ac:picMkLst>
            <pc:docMk/>
            <pc:sldMk cId="714975620" sldId="2147472776"/>
            <ac:picMk id="3" creationId="{1AD67B25-4A42-8763-AF42-44A51F7BC439}"/>
          </ac:picMkLst>
        </pc:picChg>
      </pc:sldChg>
      <pc:sldChg chg="addSp delSp modSp add mod">
        <pc:chgData name="Fatma Alsagaf" userId="ef587b5e-378a-4bb3-aa9f-3c15b98138a4" providerId="ADAL" clId="{0473C69F-9FA4-4BB2-AFA3-DCC9F278D1E1}" dt="2025-09-12T09:20:47.178" v="223"/>
        <pc:sldMkLst>
          <pc:docMk/>
          <pc:sldMk cId="4179437704" sldId="2147472777"/>
        </pc:sldMkLst>
        <pc:picChg chg="add del mod">
          <ac:chgData name="Fatma Alsagaf" userId="ef587b5e-378a-4bb3-aa9f-3c15b98138a4" providerId="ADAL" clId="{0473C69F-9FA4-4BB2-AFA3-DCC9F278D1E1}" dt="2025-09-12T09:20:17.081" v="211" actId="478"/>
          <ac:picMkLst>
            <pc:docMk/>
            <pc:sldMk cId="4179437704" sldId="2147472777"/>
            <ac:picMk id="3" creationId="{B464BD95-80B3-27FC-8376-78AE34C9C838}"/>
          </ac:picMkLst>
        </pc:picChg>
        <pc:picChg chg="add del mod">
          <ac:chgData name="Fatma Alsagaf" userId="ef587b5e-378a-4bb3-aa9f-3c15b98138a4" providerId="ADAL" clId="{0473C69F-9FA4-4BB2-AFA3-DCC9F278D1E1}" dt="2025-09-12T09:20:46.839" v="222" actId="478"/>
          <ac:picMkLst>
            <pc:docMk/>
            <pc:sldMk cId="4179437704" sldId="2147472777"/>
            <ac:picMk id="4" creationId="{53C4A9DB-033D-51C6-8ADC-1BC139760A9D}"/>
          </ac:picMkLst>
        </pc:picChg>
        <pc:picChg chg="add mod">
          <ac:chgData name="Fatma Alsagaf" userId="ef587b5e-378a-4bb3-aa9f-3c15b98138a4" providerId="ADAL" clId="{0473C69F-9FA4-4BB2-AFA3-DCC9F278D1E1}" dt="2025-09-12T09:20:47.178" v="223"/>
          <ac:picMkLst>
            <pc:docMk/>
            <pc:sldMk cId="4179437704" sldId="2147472777"/>
            <ac:picMk id="6" creationId="{4299773E-F0FD-AA03-16E8-8F12CD3E0AE1}"/>
          </ac:picMkLst>
        </pc:picChg>
        <pc:picChg chg="del">
          <ac:chgData name="Fatma Alsagaf" userId="ef587b5e-378a-4bb3-aa9f-3c15b98138a4" providerId="ADAL" clId="{0473C69F-9FA4-4BB2-AFA3-DCC9F278D1E1}" dt="2025-09-12T09:15:20.937" v="177" actId="478"/>
          <ac:picMkLst>
            <pc:docMk/>
            <pc:sldMk cId="4179437704" sldId="2147472777"/>
            <ac:picMk id="23" creationId="{1D754427-0202-4929-ABD3-39C9BE082777}"/>
          </ac:picMkLst>
        </pc:picChg>
      </pc:sldChg>
      <pc:sldChg chg="addSp delSp modSp add mod">
        <pc:chgData name="Fatma Alsagaf" userId="ef587b5e-378a-4bb3-aa9f-3c15b98138a4" providerId="ADAL" clId="{0473C69F-9FA4-4BB2-AFA3-DCC9F278D1E1}" dt="2025-09-12T09:21:14.727" v="228"/>
        <pc:sldMkLst>
          <pc:docMk/>
          <pc:sldMk cId="2005626418" sldId="2147472778"/>
        </pc:sldMkLst>
        <pc:picChg chg="add del mod">
          <ac:chgData name="Fatma Alsagaf" userId="ef587b5e-378a-4bb3-aa9f-3c15b98138a4" providerId="ADAL" clId="{0473C69F-9FA4-4BB2-AFA3-DCC9F278D1E1}" dt="2025-09-12T09:20:38.903" v="219" actId="478"/>
          <ac:picMkLst>
            <pc:docMk/>
            <pc:sldMk cId="2005626418" sldId="2147472778"/>
            <ac:picMk id="3" creationId="{1D480F67-5AF6-ACAC-33F9-B76E15F7070E}"/>
          </ac:picMkLst>
        </pc:picChg>
        <pc:picChg chg="add del mod">
          <ac:chgData name="Fatma Alsagaf" userId="ef587b5e-378a-4bb3-aa9f-3c15b98138a4" providerId="ADAL" clId="{0473C69F-9FA4-4BB2-AFA3-DCC9F278D1E1}" dt="2025-09-12T09:21:08.086" v="226" actId="478"/>
          <ac:picMkLst>
            <pc:docMk/>
            <pc:sldMk cId="2005626418" sldId="2147472778"/>
            <ac:picMk id="4" creationId="{5ABE6D5D-BB8E-3EDA-FFD5-5CD9E8BCD5AC}"/>
          </ac:picMkLst>
        </pc:picChg>
        <pc:picChg chg="add mod">
          <ac:chgData name="Fatma Alsagaf" userId="ef587b5e-378a-4bb3-aa9f-3c15b98138a4" providerId="ADAL" clId="{0473C69F-9FA4-4BB2-AFA3-DCC9F278D1E1}" dt="2025-09-12T09:21:08.428" v="227"/>
          <ac:picMkLst>
            <pc:docMk/>
            <pc:sldMk cId="2005626418" sldId="2147472778"/>
            <ac:picMk id="6" creationId="{E02FCE4E-A56C-1129-9709-946D933FDB3B}"/>
          </ac:picMkLst>
        </pc:picChg>
        <pc:picChg chg="add mod">
          <ac:chgData name="Fatma Alsagaf" userId="ef587b5e-378a-4bb3-aa9f-3c15b98138a4" providerId="ADAL" clId="{0473C69F-9FA4-4BB2-AFA3-DCC9F278D1E1}" dt="2025-09-12T09:21:14.727" v="228"/>
          <ac:picMkLst>
            <pc:docMk/>
            <pc:sldMk cId="2005626418" sldId="2147472778"/>
            <ac:picMk id="8" creationId="{290B3498-6FB5-F88C-B112-CA4221C6192B}"/>
          </ac:picMkLst>
        </pc:picChg>
        <pc:picChg chg="del">
          <ac:chgData name="Fatma Alsagaf" userId="ef587b5e-378a-4bb3-aa9f-3c15b98138a4" providerId="ADAL" clId="{0473C69F-9FA4-4BB2-AFA3-DCC9F278D1E1}" dt="2025-09-12T09:15:17.633" v="175" actId="478"/>
          <ac:picMkLst>
            <pc:docMk/>
            <pc:sldMk cId="2005626418" sldId="2147472778"/>
            <ac:picMk id="23" creationId="{1D754427-0202-4929-ABD3-39C9BE082777}"/>
          </ac:picMkLst>
        </pc:picChg>
      </pc:sldChg>
      <pc:sldChg chg="addSp delSp modSp add mod">
        <pc:chgData name="Fatma Alsagaf" userId="ef587b5e-378a-4bb3-aa9f-3c15b98138a4" providerId="ADAL" clId="{0473C69F-9FA4-4BB2-AFA3-DCC9F278D1E1}" dt="2025-09-12T09:21:17.886" v="230"/>
        <pc:sldMkLst>
          <pc:docMk/>
          <pc:sldMk cId="3212639690" sldId="2147472779"/>
        </pc:sldMkLst>
        <pc:picChg chg="add del mod">
          <ac:chgData name="Fatma Alsagaf" userId="ef587b5e-378a-4bb3-aa9f-3c15b98138a4" providerId="ADAL" clId="{0473C69F-9FA4-4BB2-AFA3-DCC9F278D1E1}" dt="2025-09-12T09:21:17.634" v="229" actId="478"/>
          <ac:picMkLst>
            <pc:docMk/>
            <pc:sldMk cId="3212639690" sldId="2147472779"/>
            <ac:picMk id="3" creationId="{F401CD7D-9FF4-0B8F-129D-EF40CEDCE29D}"/>
          </ac:picMkLst>
        </pc:picChg>
        <pc:picChg chg="add mod">
          <ac:chgData name="Fatma Alsagaf" userId="ef587b5e-378a-4bb3-aa9f-3c15b98138a4" providerId="ADAL" clId="{0473C69F-9FA4-4BB2-AFA3-DCC9F278D1E1}" dt="2025-09-12T09:21:17.886" v="230"/>
          <ac:picMkLst>
            <pc:docMk/>
            <pc:sldMk cId="3212639690" sldId="2147472779"/>
            <ac:picMk id="4" creationId="{D26002FA-A107-958C-4C2B-B806980A92DD}"/>
          </ac:picMkLst>
        </pc:picChg>
        <pc:picChg chg="del mod">
          <ac:chgData name="Fatma Alsagaf" userId="ef587b5e-378a-4bb3-aa9f-3c15b98138a4" providerId="ADAL" clId="{0473C69F-9FA4-4BB2-AFA3-DCC9F278D1E1}" dt="2025-09-12T09:20:50.222" v="224" actId="478"/>
          <ac:picMkLst>
            <pc:docMk/>
            <pc:sldMk cId="3212639690" sldId="2147472779"/>
            <ac:picMk id="23" creationId="{1D754427-0202-4929-ABD3-39C9BE082777}"/>
          </ac:picMkLst>
        </pc:picChg>
      </pc:sldChg>
      <pc:sldChg chg="modSp add mod">
        <pc:chgData name="Fatma Alsagaf" userId="ef587b5e-378a-4bb3-aa9f-3c15b98138a4" providerId="ADAL" clId="{0473C69F-9FA4-4BB2-AFA3-DCC9F278D1E1}" dt="2025-09-12T09:13:37.364" v="156" actId="14100"/>
        <pc:sldMkLst>
          <pc:docMk/>
          <pc:sldMk cId="3278059087" sldId="2147472781"/>
        </pc:sldMkLst>
        <pc:spChg chg="mod">
          <ac:chgData name="Fatma Alsagaf" userId="ef587b5e-378a-4bb3-aa9f-3c15b98138a4" providerId="ADAL" clId="{0473C69F-9FA4-4BB2-AFA3-DCC9F278D1E1}" dt="2025-09-12T09:11:26.399" v="124" actId="6549"/>
          <ac:spMkLst>
            <pc:docMk/>
            <pc:sldMk cId="3278059087" sldId="2147472781"/>
            <ac:spMk id="24" creationId="{DDE76255-0D45-80AD-AA92-94DC4F727AD7}"/>
          </ac:spMkLst>
        </pc:spChg>
        <pc:picChg chg="mod">
          <ac:chgData name="Fatma Alsagaf" userId="ef587b5e-378a-4bb3-aa9f-3c15b98138a4" providerId="ADAL" clId="{0473C69F-9FA4-4BB2-AFA3-DCC9F278D1E1}" dt="2025-09-12T09:13:37.364" v="156" actId="14100"/>
          <ac:picMkLst>
            <pc:docMk/>
            <pc:sldMk cId="3278059087" sldId="2147472781"/>
            <ac:picMk id="19" creationId="{EC0A6563-F428-4123-8338-A7D4615DEA23}"/>
          </ac:picMkLst>
        </pc:picChg>
      </pc:sldChg>
      <pc:sldChg chg="addSp delSp modSp add mod">
        <pc:chgData name="Fatma Alsagaf" userId="ef587b5e-378a-4bb3-aa9f-3c15b98138a4" providerId="ADAL" clId="{0473C69F-9FA4-4BB2-AFA3-DCC9F278D1E1}" dt="2025-09-12T09:13:43.579" v="158"/>
        <pc:sldMkLst>
          <pc:docMk/>
          <pc:sldMk cId="346806409" sldId="2147472782"/>
        </pc:sldMkLst>
        <pc:spChg chg="mod">
          <ac:chgData name="Fatma Alsagaf" userId="ef587b5e-378a-4bb3-aa9f-3c15b98138a4" providerId="ADAL" clId="{0473C69F-9FA4-4BB2-AFA3-DCC9F278D1E1}" dt="2025-09-12T09:11:59.821" v="125"/>
          <ac:spMkLst>
            <pc:docMk/>
            <pc:sldMk cId="346806409" sldId="2147472782"/>
            <ac:spMk id="18" creationId="{DDE76255-0D45-80AD-AA92-94DC4F727AD7}"/>
          </ac:spMkLst>
        </pc:spChg>
        <pc:picChg chg="add mod">
          <ac:chgData name="Fatma Alsagaf" userId="ef587b5e-378a-4bb3-aa9f-3c15b98138a4" providerId="ADAL" clId="{0473C69F-9FA4-4BB2-AFA3-DCC9F278D1E1}" dt="2025-09-12T09:13:43.579" v="158"/>
          <ac:picMkLst>
            <pc:docMk/>
            <pc:sldMk cId="346806409" sldId="2147472782"/>
            <ac:picMk id="3" creationId="{AA697F1F-9F9F-49ED-D939-5F1DC4B396AF}"/>
          </ac:picMkLst>
        </pc:picChg>
        <pc:picChg chg="del">
          <ac:chgData name="Fatma Alsagaf" userId="ef587b5e-378a-4bb3-aa9f-3c15b98138a4" providerId="ADAL" clId="{0473C69F-9FA4-4BB2-AFA3-DCC9F278D1E1}" dt="2025-09-12T09:13:43.280" v="157" actId="478"/>
          <ac:picMkLst>
            <pc:docMk/>
            <pc:sldMk cId="346806409" sldId="2147472782"/>
            <ac:picMk id="19" creationId="{EC0A6563-F428-4123-8338-A7D4615DEA23}"/>
          </ac:picMkLst>
        </pc:picChg>
      </pc:sldChg>
      <pc:sldChg chg="addSp delSp modSp add mod">
        <pc:chgData name="Fatma Alsagaf" userId="ef587b5e-378a-4bb3-aa9f-3c15b98138a4" providerId="ADAL" clId="{0473C69F-9FA4-4BB2-AFA3-DCC9F278D1E1}" dt="2025-09-12T09:13:46.951" v="160"/>
        <pc:sldMkLst>
          <pc:docMk/>
          <pc:sldMk cId="2156309561" sldId="2147472783"/>
        </pc:sldMkLst>
        <pc:spChg chg="mod">
          <ac:chgData name="Fatma Alsagaf" userId="ef587b5e-378a-4bb3-aa9f-3c15b98138a4" providerId="ADAL" clId="{0473C69F-9FA4-4BB2-AFA3-DCC9F278D1E1}" dt="2025-09-12T09:12:04.018" v="126"/>
          <ac:spMkLst>
            <pc:docMk/>
            <pc:sldMk cId="2156309561" sldId="2147472783"/>
            <ac:spMk id="18" creationId="{DDE76255-0D45-80AD-AA92-94DC4F727AD7}"/>
          </ac:spMkLst>
        </pc:spChg>
        <pc:picChg chg="add mod">
          <ac:chgData name="Fatma Alsagaf" userId="ef587b5e-378a-4bb3-aa9f-3c15b98138a4" providerId="ADAL" clId="{0473C69F-9FA4-4BB2-AFA3-DCC9F278D1E1}" dt="2025-09-12T09:13:46.951" v="160"/>
          <ac:picMkLst>
            <pc:docMk/>
            <pc:sldMk cId="2156309561" sldId="2147472783"/>
            <ac:picMk id="3" creationId="{707AA403-0F7B-6EFF-3003-000ABCF4E7AE}"/>
          </ac:picMkLst>
        </pc:picChg>
        <pc:picChg chg="del">
          <ac:chgData name="Fatma Alsagaf" userId="ef587b5e-378a-4bb3-aa9f-3c15b98138a4" providerId="ADAL" clId="{0473C69F-9FA4-4BB2-AFA3-DCC9F278D1E1}" dt="2025-09-12T09:13:46.661" v="159" actId="478"/>
          <ac:picMkLst>
            <pc:docMk/>
            <pc:sldMk cId="2156309561" sldId="2147472783"/>
            <ac:picMk id="19" creationId="{EC0A6563-F428-4123-8338-A7D4615DEA23}"/>
          </ac:picMkLst>
        </pc:picChg>
      </pc:sldChg>
      <pc:sldChg chg="addSp delSp modSp add mod">
        <pc:chgData name="Fatma Alsagaf" userId="ef587b5e-378a-4bb3-aa9f-3c15b98138a4" providerId="ADAL" clId="{0473C69F-9FA4-4BB2-AFA3-DCC9F278D1E1}" dt="2025-09-12T09:13:50.715" v="162"/>
        <pc:sldMkLst>
          <pc:docMk/>
          <pc:sldMk cId="2853953177" sldId="2147472784"/>
        </pc:sldMkLst>
        <pc:spChg chg="mod">
          <ac:chgData name="Fatma Alsagaf" userId="ef587b5e-378a-4bb3-aa9f-3c15b98138a4" providerId="ADAL" clId="{0473C69F-9FA4-4BB2-AFA3-DCC9F278D1E1}" dt="2025-09-12T09:12:08.724" v="127"/>
          <ac:spMkLst>
            <pc:docMk/>
            <pc:sldMk cId="2853953177" sldId="2147472784"/>
            <ac:spMk id="18" creationId="{DDE76255-0D45-80AD-AA92-94DC4F727AD7}"/>
          </ac:spMkLst>
        </pc:spChg>
        <pc:picChg chg="add mod">
          <ac:chgData name="Fatma Alsagaf" userId="ef587b5e-378a-4bb3-aa9f-3c15b98138a4" providerId="ADAL" clId="{0473C69F-9FA4-4BB2-AFA3-DCC9F278D1E1}" dt="2025-09-12T09:13:50.715" v="162"/>
          <ac:picMkLst>
            <pc:docMk/>
            <pc:sldMk cId="2853953177" sldId="2147472784"/>
            <ac:picMk id="3" creationId="{8A383004-E0A7-FA2A-D479-6DD4C59E8C69}"/>
          </ac:picMkLst>
        </pc:picChg>
        <pc:picChg chg="del">
          <ac:chgData name="Fatma Alsagaf" userId="ef587b5e-378a-4bb3-aa9f-3c15b98138a4" providerId="ADAL" clId="{0473C69F-9FA4-4BB2-AFA3-DCC9F278D1E1}" dt="2025-09-12T09:13:50.431" v="161" actId="478"/>
          <ac:picMkLst>
            <pc:docMk/>
            <pc:sldMk cId="2853953177" sldId="2147472784"/>
            <ac:picMk id="19" creationId="{EC0A6563-F428-4123-8338-A7D4615DEA23}"/>
          </ac:picMkLst>
        </pc:picChg>
      </pc:sldChg>
      <pc:sldChg chg="add del">
        <pc:chgData name="Fatma Alsagaf" userId="ef587b5e-378a-4bb3-aa9f-3c15b98138a4" providerId="ADAL" clId="{0473C69F-9FA4-4BB2-AFA3-DCC9F278D1E1}" dt="2025-09-12T09:14:05.246" v="163" actId="47"/>
        <pc:sldMkLst>
          <pc:docMk/>
          <pc:sldMk cId="3614884197" sldId="2147472786"/>
        </pc:sldMkLst>
      </pc:sldChg>
      <pc:sldChg chg="modSp add del">
        <pc:chgData name="Fatma Alsagaf" userId="ef587b5e-378a-4bb3-aa9f-3c15b98138a4" providerId="ADAL" clId="{0473C69F-9FA4-4BB2-AFA3-DCC9F278D1E1}" dt="2025-09-12T09:15:00.977" v="172" actId="47"/>
        <pc:sldMkLst>
          <pc:docMk/>
          <pc:sldMk cId="3833591054" sldId="2147472787"/>
        </pc:sldMkLst>
        <pc:picChg chg="mod">
          <ac:chgData name="Fatma Alsagaf" userId="ef587b5e-378a-4bb3-aa9f-3c15b98138a4" providerId="ADAL" clId="{0473C69F-9FA4-4BB2-AFA3-DCC9F278D1E1}" dt="2025-09-12T09:07:30.489" v="117" actId="14100"/>
          <ac:picMkLst>
            <pc:docMk/>
            <pc:sldMk cId="3833591054" sldId="2147472787"/>
            <ac:picMk id="7" creationId="{F8D3A304-0F26-46E9-BF45-48F1196599F8}"/>
          </ac:picMkLst>
        </pc:picChg>
      </pc:sldChg>
      <pc:sldChg chg="add del">
        <pc:chgData name="Fatma Alsagaf" userId="ef587b5e-378a-4bb3-aa9f-3c15b98138a4" providerId="ADAL" clId="{0473C69F-9FA4-4BB2-AFA3-DCC9F278D1E1}" dt="2025-09-12T09:00:44.948" v="75" actId="47"/>
        <pc:sldMkLst>
          <pc:docMk/>
          <pc:sldMk cId="3610675081" sldId="2147472789"/>
        </pc:sldMkLst>
      </pc:sldChg>
      <pc:sldChg chg="add del">
        <pc:chgData name="Fatma Alsagaf" userId="ef587b5e-378a-4bb3-aa9f-3c15b98138a4" providerId="ADAL" clId="{0473C69F-9FA4-4BB2-AFA3-DCC9F278D1E1}" dt="2025-09-12T09:00:45.549" v="76" actId="47"/>
        <pc:sldMkLst>
          <pc:docMk/>
          <pc:sldMk cId="2519588336" sldId="2147472790"/>
        </pc:sldMkLst>
      </pc:sldChg>
      <pc:sldChg chg="add del">
        <pc:chgData name="Fatma Alsagaf" userId="ef587b5e-378a-4bb3-aa9f-3c15b98138a4" providerId="ADAL" clId="{0473C69F-9FA4-4BB2-AFA3-DCC9F278D1E1}" dt="2025-09-12T09:00:50.070" v="78" actId="47"/>
        <pc:sldMkLst>
          <pc:docMk/>
          <pc:sldMk cId="595408582" sldId="2147472791"/>
        </pc:sldMkLst>
      </pc:sldChg>
      <pc:sldChg chg="add del">
        <pc:chgData name="Fatma Alsagaf" userId="ef587b5e-378a-4bb3-aa9f-3c15b98138a4" providerId="ADAL" clId="{0473C69F-9FA4-4BB2-AFA3-DCC9F278D1E1}" dt="2025-09-12T09:00:51.431" v="79" actId="47"/>
        <pc:sldMkLst>
          <pc:docMk/>
          <pc:sldMk cId="2857758893" sldId="2147472792"/>
        </pc:sldMkLst>
      </pc:sldChg>
      <pc:sldChg chg="add del">
        <pc:chgData name="Fatma Alsagaf" userId="ef587b5e-378a-4bb3-aa9f-3c15b98138a4" providerId="ADAL" clId="{0473C69F-9FA4-4BB2-AFA3-DCC9F278D1E1}" dt="2025-09-12T09:00:52.514" v="80" actId="47"/>
        <pc:sldMkLst>
          <pc:docMk/>
          <pc:sldMk cId="1909999229" sldId="2147472793"/>
        </pc:sldMkLst>
      </pc:sldChg>
      <pc:sldChg chg="add del">
        <pc:chgData name="Fatma Alsagaf" userId="ef587b5e-378a-4bb3-aa9f-3c15b98138a4" providerId="ADAL" clId="{0473C69F-9FA4-4BB2-AFA3-DCC9F278D1E1}" dt="2025-09-12T09:00:53.947" v="81" actId="47"/>
        <pc:sldMkLst>
          <pc:docMk/>
          <pc:sldMk cId="2685945957" sldId="2147472795"/>
        </pc:sldMkLst>
      </pc:sldChg>
      <pc:sldChg chg="add del">
        <pc:chgData name="Fatma Alsagaf" userId="ef587b5e-378a-4bb3-aa9f-3c15b98138a4" providerId="ADAL" clId="{0473C69F-9FA4-4BB2-AFA3-DCC9F278D1E1}" dt="2025-09-12T09:00:54.688" v="82" actId="47"/>
        <pc:sldMkLst>
          <pc:docMk/>
          <pc:sldMk cId="3431802877" sldId="2147472796"/>
        </pc:sldMkLst>
      </pc:sldChg>
      <pc:sldChg chg="add del">
        <pc:chgData name="Fatma Alsagaf" userId="ef587b5e-378a-4bb3-aa9f-3c15b98138a4" providerId="ADAL" clId="{0473C69F-9FA4-4BB2-AFA3-DCC9F278D1E1}" dt="2025-09-12T08:57:59.097" v="26" actId="47"/>
        <pc:sldMkLst>
          <pc:docMk/>
          <pc:sldMk cId="2951066899" sldId="2147472822"/>
        </pc:sldMkLst>
      </pc:sldChg>
      <pc:sldChg chg="add del">
        <pc:chgData name="Fatma Alsagaf" userId="ef587b5e-378a-4bb3-aa9f-3c15b98138a4" providerId="ADAL" clId="{0473C69F-9FA4-4BB2-AFA3-DCC9F278D1E1}" dt="2025-09-12T09:00:44.426" v="74" actId="47"/>
        <pc:sldMkLst>
          <pc:docMk/>
          <pc:sldMk cId="1714174038" sldId="2147472823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3895456890" sldId="2147472828"/>
        </pc:sldMkLst>
      </pc:sldChg>
      <pc:sldChg chg="del">
        <pc:chgData name="Fatma Alsagaf" userId="ef587b5e-378a-4bb3-aa9f-3c15b98138a4" providerId="ADAL" clId="{0473C69F-9FA4-4BB2-AFA3-DCC9F278D1E1}" dt="2025-09-12T09:12:26.553" v="131" actId="47"/>
        <pc:sldMkLst>
          <pc:docMk/>
          <pc:sldMk cId="2911848545" sldId="2147472829"/>
        </pc:sldMkLst>
      </pc:sldChg>
      <pc:sldChg chg="del">
        <pc:chgData name="Fatma Alsagaf" userId="ef587b5e-378a-4bb3-aa9f-3c15b98138a4" providerId="ADAL" clId="{0473C69F-9FA4-4BB2-AFA3-DCC9F278D1E1}" dt="2025-09-12T09:12:34.238" v="137" actId="47"/>
        <pc:sldMkLst>
          <pc:docMk/>
          <pc:sldMk cId="772722835" sldId="2147472830"/>
        </pc:sldMkLst>
      </pc:sldChg>
      <pc:sldChg chg="del">
        <pc:chgData name="Fatma Alsagaf" userId="ef587b5e-378a-4bb3-aa9f-3c15b98138a4" providerId="ADAL" clId="{0473C69F-9FA4-4BB2-AFA3-DCC9F278D1E1}" dt="2025-09-12T09:12:35.695" v="138" actId="47"/>
        <pc:sldMkLst>
          <pc:docMk/>
          <pc:sldMk cId="166854795" sldId="2147472831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385158209" sldId="2147472903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614162511" sldId="2147472904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4152908326" sldId="2147472905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760051632" sldId="2147472907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2643928802" sldId="2147472911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2256666489" sldId="2147472912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1147957069" sldId="2147472913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540966499" sldId="2147472915"/>
        </pc:sldMkLst>
      </pc:sldChg>
      <pc:sldChg chg="add del">
        <pc:chgData name="Fatma Alsagaf" userId="ef587b5e-378a-4bb3-aa9f-3c15b98138a4" providerId="ADAL" clId="{0473C69F-9FA4-4BB2-AFA3-DCC9F278D1E1}" dt="2025-09-08T13:07:02.905" v="5" actId="47"/>
        <pc:sldMkLst>
          <pc:docMk/>
          <pc:sldMk cId="3874354183" sldId="2147472916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4180121938" sldId="2147472917"/>
        </pc:sldMkLst>
      </pc:sldChg>
      <pc:sldChg chg="add del">
        <pc:chgData name="Fatma Alsagaf" userId="ef587b5e-378a-4bb3-aa9f-3c15b98138a4" providerId="ADAL" clId="{0473C69F-9FA4-4BB2-AFA3-DCC9F278D1E1}" dt="2025-09-08T13:07:03.637" v="6" actId="47"/>
        <pc:sldMkLst>
          <pc:docMk/>
          <pc:sldMk cId="3265517581" sldId="2147472918"/>
        </pc:sldMkLst>
      </pc:sldChg>
      <pc:sldChg chg="add del">
        <pc:chgData name="Fatma Alsagaf" userId="ef587b5e-378a-4bb3-aa9f-3c15b98138a4" providerId="ADAL" clId="{0473C69F-9FA4-4BB2-AFA3-DCC9F278D1E1}" dt="2025-09-08T13:07:04.445" v="7" actId="47"/>
        <pc:sldMkLst>
          <pc:docMk/>
          <pc:sldMk cId="1545793696" sldId="2147472919"/>
        </pc:sldMkLst>
      </pc:sldChg>
      <pc:sldChg chg="add del">
        <pc:chgData name="Fatma Alsagaf" userId="ef587b5e-378a-4bb3-aa9f-3c15b98138a4" providerId="ADAL" clId="{0473C69F-9FA4-4BB2-AFA3-DCC9F278D1E1}" dt="2025-09-08T13:07:04.853" v="8" actId="47"/>
        <pc:sldMkLst>
          <pc:docMk/>
          <pc:sldMk cId="2080865880" sldId="2147472920"/>
        </pc:sldMkLst>
      </pc:sldChg>
      <pc:sldChg chg="add del">
        <pc:chgData name="Fatma Alsagaf" userId="ef587b5e-378a-4bb3-aa9f-3c15b98138a4" providerId="ADAL" clId="{0473C69F-9FA4-4BB2-AFA3-DCC9F278D1E1}" dt="2025-09-08T13:07:05.737" v="9" actId="47"/>
        <pc:sldMkLst>
          <pc:docMk/>
          <pc:sldMk cId="2181257544" sldId="2147472921"/>
        </pc:sldMkLst>
      </pc:sldChg>
      <pc:sldChg chg="add del">
        <pc:chgData name="Fatma Alsagaf" userId="ef587b5e-378a-4bb3-aa9f-3c15b98138a4" providerId="ADAL" clId="{0473C69F-9FA4-4BB2-AFA3-DCC9F278D1E1}" dt="2025-09-08T13:07:06.439" v="10" actId="47"/>
        <pc:sldMkLst>
          <pc:docMk/>
          <pc:sldMk cId="507176996" sldId="2147472922"/>
        </pc:sldMkLst>
      </pc:sldChg>
      <pc:sldChg chg="add del">
        <pc:chgData name="Fatma Alsagaf" userId="ef587b5e-378a-4bb3-aa9f-3c15b98138a4" providerId="ADAL" clId="{0473C69F-9FA4-4BB2-AFA3-DCC9F278D1E1}" dt="2025-09-08T13:07:08.364" v="11" actId="47"/>
        <pc:sldMkLst>
          <pc:docMk/>
          <pc:sldMk cId="3071115780" sldId="2147472923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105893412" sldId="2147472925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2735134264" sldId="2147472926"/>
        </pc:sldMkLst>
      </pc:sldChg>
      <pc:sldChg chg="add del">
        <pc:chgData name="Fatma Alsagaf" userId="ef587b5e-378a-4bb3-aa9f-3c15b98138a4" providerId="ADAL" clId="{0473C69F-9FA4-4BB2-AFA3-DCC9F278D1E1}" dt="2025-09-08T13:07:20.335" v="12" actId="47"/>
        <pc:sldMkLst>
          <pc:docMk/>
          <pc:sldMk cId="3468317115" sldId="2147472927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3259798069" sldId="2147472954"/>
        </pc:sldMkLst>
      </pc:sldChg>
      <pc:sldChg chg="add del">
        <pc:chgData name="Fatma Alsagaf" userId="ef587b5e-378a-4bb3-aa9f-3c15b98138a4" providerId="ADAL" clId="{0473C69F-9FA4-4BB2-AFA3-DCC9F278D1E1}" dt="2025-09-12T08:53:19.554" v="14" actId="47"/>
        <pc:sldMkLst>
          <pc:docMk/>
          <pc:sldMk cId="1694465123" sldId="2147472955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157766714" sldId="2147472956"/>
        </pc:sldMkLst>
      </pc:sldChg>
      <pc:sldChg chg="modSp add mod">
        <pc:chgData name="Fatma Alsagaf" userId="ef587b5e-378a-4bb3-aa9f-3c15b98138a4" providerId="ADAL" clId="{0473C69F-9FA4-4BB2-AFA3-DCC9F278D1E1}" dt="2025-09-12T09:17:14.702" v="190" actId="14100"/>
        <pc:sldMkLst>
          <pc:docMk/>
          <pc:sldMk cId="3721545320" sldId="2147472957"/>
        </pc:sldMkLst>
        <pc:picChg chg="mod">
          <ac:chgData name="Fatma Alsagaf" userId="ef587b5e-378a-4bb3-aa9f-3c15b98138a4" providerId="ADAL" clId="{0473C69F-9FA4-4BB2-AFA3-DCC9F278D1E1}" dt="2025-09-12T09:17:14.702" v="190" actId="14100"/>
          <ac:picMkLst>
            <pc:docMk/>
            <pc:sldMk cId="3721545320" sldId="2147472957"/>
            <ac:picMk id="2" creationId="{C9217049-5D19-DCC5-FDE2-87878CF77F35}"/>
          </ac:picMkLst>
        </pc:picChg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3183517903" sldId="2147472958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4222253137" sldId="2147472959"/>
        </pc:sldMkLst>
      </pc:sldChg>
      <pc:sldChg chg="add del">
        <pc:chgData name="Fatma Alsagaf" userId="ef587b5e-378a-4bb3-aa9f-3c15b98138a4" providerId="ADAL" clId="{0473C69F-9FA4-4BB2-AFA3-DCC9F278D1E1}" dt="2025-09-12T09:01:32.153" v="83" actId="47"/>
        <pc:sldMkLst>
          <pc:docMk/>
          <pc:sldMk cId="3825562727" sldId="2147472960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1908900154" sldId="2147472961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2705414044" sldId="2147472962"/>
        </pc:sldMkLst>
      </pc:sldChg>
      <pc:sldChg chg="add del">
        <pc:chgData name="Fatma Alsagaf" userId="ef587b5e-378a-4bb3-aa9f-3c15b98138a4" providerId="ADAL" clId="{0473C69F-9FA4-4BB2-AFA3-DCC9F278D1E1}" dt="2025-09-12T08:54:33.888" v="16" actId="47"/>
        <pc:sldMkLst>
          <pc:docMk/>
          <pc:sldMk cId="3617728981" sldId="2147472964"/>
        </pc:sldMkLst>
      </pc:sldChg>
      <pc:sldChg chg="add del">
        <pc:chgData name="Fatma Alsagaf" userId="ef587b5e-378a-4bb3-aa9f-3c15b98138a4" providerId="ADAL" clId="{0473C69F-9FA4-4BB2-AFA3-DCC9F278D1E1}" dt="2025-09-12T08:54:34.270" v="17" actId="47"/>
        <pc:sldMkLst>
          <pc:docMk/>
          <pc:sldMk cId="1477469326" sldId="2147472965"/>
        </pc:sldMkLst>
      </pc:sldChg>
      <pc:sldChg chg="add del">
        <pc:chgData name="Fatma Alsagaf" userId="ef587b5e-378a-4bb3-aa9f-3c15b98138a4" providerId="ADAL" clId="{0473C69F-9FA4-4BB2-AFA3-DCC9F278D1E1}" dt="2025-09-12T09:09:13.355" v="118"/>
        <pc:sldMkLst>
          <pc:docMk/>
          <pc:sldMk cId="1269099873" sldId="2147472966"/>
        </pc:sldMkLst>
      </pc:sldChg>
      <pc:sldChg chg="add del">
        <pc:chgData name="Fatma Alsagaf" userId="ef587b5e-378a-4bb3-aa9f-3c15b98138a4" providerId="ADAL" clId="{0473C69F-9FA4-4BB2-AFA3-DCC9F278D1E1}" dt="2025-09-12T09:09:13.355" v="118"/>
        <pc:sldMkLst>
          <pc:docMk/>
          <pc:sldMk cId="1912753446" sldId="2147472967"/>
        </pc:sldMkLst>
      </pc:sldChg>
      <pc:sldChg chg="add del">
        <pc:chgData name="Fatma Alsagaf" userId="ef587b5e-378a-4bb3-aa9f-3c15b98138a4" providerId="ADAL" clId="{0473C69F-9FA4-4BB2-AFA3-DCC9F278D1E1}" dt="2025-09-12T09:09:13.355" v="118"/>
        <pc:sldMkLst>
          <pc:docMk/>
          <pc:sldMk cId="3749047786" sldId="2147472968"/>
        </pc:sldMkLst>
      </pc:sldChg>
      <pc:sldChg chg="add del">
        <pc:chgData name="Fatma Alsagaf" userId="ef587b5e-378a-4bb3-aa9f-3c15b98138a4" providerId="ADAL" clId="{0473C69F-9FA4-4BB2-AFA3-DCC9F278D1E1}" dt="2025-09-12T09:09:13.355" v="118"/>
        <pc:sldMkLst>
          <pc:docMk/>
          <pc:sldMk cId="1770827146" sldId="2147472969"/>
        </pc:sldMkLst>
      </pc:sldChg>
      <pc:sldChg chg="add ord">
        <pc:chgData name="Fatma Alsagaf" userId="ef587b5e-378a-4bb3-aa9f-3c15b98138a4" providerId="ADAL" clId="{0473C69F-9FA4-4BB2-AFA3-DCC9F278D1E1}" dt="2025-09-12T09:05:48.310" v="107"/>
        <pc:sldMkLst>
          <pc:docMk/>
          <pc:sldMk cId="2579986788" sldId="2147472970"/>
        </pc:sldMkLst>
      </pc:sldChg>
      <pc:sldChg chg="add del">
        <pc:chgData name="Fatma Alsagaf" userId="ef587b5e-378a-4bb3-aa9f-3c15b98138a4" providerId="ADAL" clId="{0473C69F-9FA4-4BB2-AFA3-DCC9F278D1E1}" dt="2025-09-12T09:01:56.978" v="84" actId="47"/>
        <pc:sldMkLst>
          <pc:docMk/>
          <pc:sldMk cId="2797486162" sldId="2147472971"/>
        </pc:sldMkLst>
      </pc:sldChg>
      <pc:sldChg chg="add del">
        <pc:chgData name="Fatma Alsagaf" userId="ef587b5e-378a-4bb3-aa9f-3c15b98138a4" providerId="ADAL" clId="{0473C69F-9FA4-4BB2-AFA3-DCC9F278D1E1}" dt="2025-09-12T08:55:28.284" v="23" actId="47"/>
        <pc:sldMkLst>
          <pc:docMk/>
          <pc:sldMk cId="2294417107" sldId="2147472973"/>
        </pc:sldMkLst>
      </pc:sldChg>
      <pc:sldChg chg="modSp add mod">
        <pc:chgData name="Fatma Alsagaf" userId="ef587b5e-378a-4bb3-aa9f-3c15b98138a4" providerId="ADAL" clId="{0473C69F-9FA4-4BB2-AFA3-DCC9F278D1E1}" dt="2025-09-12T09:17:25.025" v="191" actId="14100"/>
        <pc:sldMkLst>
          <pc:docMk/>
          <pc:sldMk cId="2505837181" sldId="2147472974"/>
        </pc:sldMkLst>
        <pc:picChg chg="mod">
          <ac:chgData name="Fatma Alsagaf" userId="ef587b5e-378a-4bb3-aa9f-3c15b98138a4" providerId="ADAL" clId="{0473C69F-9FA4-4BB2-AFA3-DCC9F278D1E1}" dt="2025-09-12T09:17:25.025" v="191" actId="14100"/>
          <ac:picMkLst>
            <pc:docMk/>
            <pc:sldMk cId="2505837181" sldId="2147472974"/>
            <ac:picMk id="6" creationId="{29262D0D-8592-EC3B-2470-302689D005FD}"/>
          </ac:picMkLst>
        </pc:picChg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1980902399" sldId="2147472975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224956483" sldId="2147472976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3103689041" sldId="2147472977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909412643" sldId="2147472978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112883775" sldId="2147472979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2891540699" sldId="2147472980"/>
        </pc:sldMkLst>
      </pc:sldChg>
      <pc:sldChg chg="add del">
        <pc:chgData name="Fatma Alsagaf" userId="ef587b5e-378a-4bb3-aa9f-3c15b98138a4" providerId="ADAL" clId="{0473C69F-9FA4-4BB2-AFA3-DCC9F278D1E1}" dt="2025-09-12T09:04:47.668" v="96" actId="47"/>
        <pc:sldMkLst>
          <pc:docMk/>
          <pc:sldMk cId="954314137" sldId="2147472981"/>
        </pc:sldMkLst>
      </pc:sldChg>
      <pc:sldChg chg="add del">
        <pc:chgData name="Fatma Alsagaf" userId="ef587b5e-378a-4bb3-aa9f-3c15b98138a4" providerId="ADAL" clId="{0473C69F-9FA4-4BB2-AFA3-DCC9F278D1E1}" dt="2025-09-12T09:04:55.225" v="98" actId="47"/>
        <pc:sldMkLst>
          <pc:docMk/>
          <pc:sldMk cId="3129659013" sldId="2147472983"/>
        </pc:sldMkLst>
      </pc:sldChg>
      <pc:sldChg chg="add del">
        <pc:chgData name="Fatma Alsagaf" userId="ef587b5e-378a-4bb3-aa9f-3c15b98138a4" providerId="ADAL" clId="{0473C69F-9FA4-4BB2-AFA3-DCC9F278D1E1}" dt="2025-09-12T09:04:56.087" v="99" actId="47"/>
        <pc:sldMkLst>
          <pc:docMk/>
          <pc:sldMk cId="4156452423" sldId="2147472984"/>
        </pc:sldMkLst>
      </pc:sldChg>
      <pc:sldChg chg="modSp add del mod">
        <pc:chgData name="Fatma Alsagaf" userId="ef587b5e-378a-4bb3-aa9f-3c15b98138a4" providerId="ADAL" clId="{0473C69F-9FA4-4BB2-AFA3-DCC9F278D1E1}" dt="2025-09-12T09:17:35.880" v="192" actId="14100"/>
        <pc:sldMkLst>
          <pc:docMk/>
          <pc:sldMk cId="2444923486" sldId="2147472985"/>
        </pc:sldMkLst>
        <pc:picChg chg="mod">
          <ac:chgData name="Fatma Alsagaf" userId="ef587b5e-378a-4bb3-aa9f-3c15b98138a4" providerId="ADAL" clId="{0473C69F-9FA4-4BB2-AFA3-DCC9F278D1E1}" dt="2025-09-12T09:17:35.880" v="192" actId="14100"/>
          <ac:picMkLst>
            <pc:docMk/>
            <pc:sldMk cId="2444923486" sldId="2147472985"/>
            <ac:picMk id="10" creationId="{DA874137-E00F-6900-B769-C7103BB9DD1E}"/>
          </ac:picMkLst>
        </pc:picChg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4150580961" sldId="2147472986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3801240834" sldId="2147472987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4291952857" sldId="2147472988"/>
        </pc:sldMkLst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1512602632" sldId="2147472989"/>
        </pc:sldMkLst>
      </pc:sldChg>
      <pc:sldChg chg="modSp add">
        <pc:chgData name="Fatma Alsagaf" userId="ef587b5e-378a-4bb3-aa9f-3c15b98138a4" providerId="ADAL" clId="{0473C69F-9FA4-4BB2-AFA3-DCC9F278D1E1}" dt="2025-09-12T09:10:03.867" v="119" actId="6549"/>
        <pc:sldMkLst>
          <pc:docMk/>
          <pc:sldMk cId="2589290909" sldId="2147472990"/>
        </pc:sldMkLst>
        <pc:spChg chg="mod">
          <ac:chgData name="Fatma Alsagaf" userId="ef587b5e-378a-4bb3-aa9f-3c15b98138a4" providerId="ADAL" clId="{0473C69F-9FA4-4BB2-AFA3-DCC9F278D1E1}" dt="2025-09-12T09:10:03.867" v="119" actId="6549"/>
          <ac:spMkLst>
            <pc:docMk/>
            <pc:sldMk cId="2589290909" sldId="2147472990"/>
            <ac:spMk id="7" creationId="{170B5A49-06C3-DD7A-91C7-B8D9CF65EFB8}"/>
          </ac:spMkLst>
        </pc:spChg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848308851" sldId="2147472991"/>
        </pc:sldMkLst>
      </pc:sldChg>
      <pc:sldChg chg="add del">
        <pc:chgData name="Fatma Alsagaf" userId="ef587b5e-378a-4bb3-aa9f-3c15b98138a4" providerId="ADAL" clId="{0473C69F-9FA4-4BB2-AFA3-DCC9F278D1E1}" dt="2025-09-12T09:06:14.924" v="110" actId="47"/>
        <pc:sldMkLst>
          <pc:docMk/>
          <pc:sldMk cId="2973307388" sldId="2147472993"/>
        </pc:sldMkLst>
      </pc:sldChg>
      <pc:sldChg chg="addSp delSp modSp add mod">
        <pc:chgData name="Fatma Alsagaf" userId="ef587b5e-378a-4bb3-aa9f-3c15b98138a4" providerId="ADAL" clId="{0473C69F-9FA4-4BB2-AFA3-DCC9F278D1E1}" dt="2025-09-12T09:19:45.510" v="208"/>
        <pc:sldMkLst>
          <pc:docMk/>
          <pc:sldMk cId="3994015734" sldId="2147472994"/>
        </pc:sldMkLst>
        <pc:picChg chg="del">
          <ac:chgData name="Fatma Alsagaf" userId="ef587b5e-378a-4bb3-aa9f-3c15b98138a4" providerId="ADAL" clId="{0473C69F-9FA4-4BB2-AFA3-DCC9F278D1E1}" dt="2025-09-12T09:18:07.200" v="195" actId="478"/>
          <ac:picMkLst>
            <pc:docMk/>
            <pc:sldMk cId="3994015734" sldId="2147472994"/>
            <ac:picMk id="3" creationId="{668730D7-27E1-BB19-6BF4-BE85AC61EA2E}"/>
          </ac:picMkLst>
        </pc:picChg>
        <pc:picChg chg="add del mod">
          <ac:chgData name="Fatma Alsagaf" userId="ef587b5e-378a-4bb3-aa9f-3c15b98138a4" providerId="ADAL" clId="{0473C69F-9FA4-4BB2-AFA3-DCC9F278D1E1}" dt="2025-09-12T09:19:45.257" v="207" actId="478"/>
          <ac:picMkLst>
            <pc:docMk/>
            <pc:sldMk cId="3994015734" sldId="2147472994"/>
            <ac:picMk id="4" creationId="{F612C518-7B43-C345-A7EF-54736B54FFEF}"/>
          </ac:picMkLst>
        </pc:picChg>
        <pc:picChg chg="add mod">
          <ac:chgData name="Fatma Alsagaf" userId="ef587b5e-378a-4bb3-aa9f-3c15b98138a4" providerId="ADAL" clId="{0473C69F-9FA4-4BB2-AFA3-DCC9F278D1E1}" dt="2025-09-12T09:19:45.510" v="208"/>
          <ac:picMkLst>
            <pc:docMk/>
            <pc:sldMk cId="3994015734" sldId="2147472994"/>
            <ac:picMk id="5" creationId="{0A1CE739-3F1A-7372-F21D-42A0424FA786}"/>
          </ac:picMkLst>
        </pc:picChg>
      </pc:sldChg>
      <pc:sldChg chg="add">
        <pc:chgData name="Fatma Alsagaf" userId="ef587b5e-378a-4bb3-aa9f-3c15b98138a4" providerId="ADAL" clId="{0473C69F-9FA4-4BB2-AFA3-DCC9F278D1E1}" dt="2025-09-08T13:05:20.351" v="4"/>
        <pc:sldMkLst>
          <pc:docMk/>
          <pc:sldMk cId="3333724569" sldId="2147472995"/>
        </pc:sldMkLst>
      </pc:sldChg>
      <pc:sldChg chg="add del">
        <pc:chgData name="Fatma Alsagaf" userId="ef587b5e-378a-4bb3-aa9f-3c15b98138a4" providerId="ADAL" clId="{0473C69F-9FA4-4BB2-AFA3-DCC9F278D1E1}" dt="2025-09-12T09:06:16.513" v="111" actId="47"/>
        <pc:sldMkLst>
          <pc:docMk/>
          <pc:sldMk cId="1925200901" sldId="2147473005"/>
        </pc:sldMkLst>
      </pc:sldChg>
      <pc:sldChg chg="addSp delSp modSp add mod">
        <pc:chgData name="Fatma Alsagaf" userId="ef587b5e-378a-4bb3-aa9f-3c15b98138a4" providerId="ADAL" clId="{0473C69F-9FA4-4BB2-AFA3-DCC9F278D1E1}" dt="2025-09-12T09:19:21.605" v="206" actId="1076"/>
        <pc:sldMkLst>
          <pc:docMk/>
          <pc:sldMk cId="810359674" sldId="2147473006"/>
        </pc:sldMkLst>
        <pc:picChg chg="del mod">
          <ac:chgData name="Fatma Alsagaf" userId="ef587b5e-378a-4bb3-aa9f-3c15b98138a4" providerId="ADAL" clId="{0473C69F-9FA4-4BB2-AFA3-DCC9F278D1E1}" dt="2025-09-12T09:16:22.198" v="189" actId="478"/>
          <ac:picMkLst>
            <pc:docMk/>
            <pc:sldMk cId="810359674" sldId="2147473006"/>
            <ac:picMk id="2" creationId="{B2322578-E4B6-1FB1-0222-9BFA8CAB976E}"/>
          </ac:picMkLst>
        </pc:picChg>
        <pc:picChg chg="add del mod">
          <ac:chgData name="Fatma Alsagaf" userId="ef587b5e-378a-4bb3-aa9f-3c15b98138a4" providerId="ADAL" clId="{0473C69F-9FA4-4BB2-AFA3-DCC9F278D1E1}" dt="2025-09-12T09:19:04.500" v="200" actId="478"/>
          <ac:picMkLst>
            <pc:docMk/>
            <pc:sldMk cId="810359674" sldId="2147473006"/>
            <ac:picMk id="4" creationId="{967F5CA9-A4F8-1A72-2989-D35806B99D3C}"/>
          </ac:picMkLst>
        </pc:picChg>
        <pc:picChg chg="add mod">
          <ac:chgData name="Fatma Alsagaf" userId="ef587b5e-378a-4bb3-aa9f-3c15b98138a4" providerId="ADAL" clId="{0473C69F-9FA4-4BB2-AFA3-DCC9F278D1E1}" dt="2025-09-12T09:19:21.605" v="206" actId="1076"/>
          <ac:picMkLst>
            <pc:docMk/>
            <pc:sldMk cId="810359674" sldId="2147473006"/>
            <ac:picMk id="5" creationId="{C4CDDBBB-9D44-F998-0F99-BD4DAD50344A}"/>
          </ac:picMkLst>
        </pc:picChg>
      </pc:sldChg>
      <pc:sldChg chg="add del">
        <pc:chgData name="Fatma Alsagaf" userId="ef587b5e-378a-4bb3-aa9f-3c15b98138a4" providerId="ADAL" clId="{0473C69F-9FA4-4BB2-AFA3-DCC9F278D1E1}" dt="2025-09-12T08:57:58.445" v="25" actId="47"/>
        <pc:sldMkLst>
          <pc:docMk/>
          <pc:sldMk cId="1331179135" sldId="2147473008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3148829106" sldId="2147473013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2587331531" sldId="2147473014"/>
        </pc:sldMkLst>
      </pc:sldChg>
      <pc:sldChg chg="add del">
        <pc:chgData name="Fatma Alsagaf" userId="ef587b5e-378a-4bb3-aa9f-3c15b98138a4" providerId="ADAL" clId="{0473C69F-9FA4-4BB2-AFA3-DCC9F278D1E1}" dt="2025-09-12T08:53:10.609" v="13" actId="47"/>
        <pc:sldMkLst>
          <pc:docMk/>
          <pc:sldMk cId="3326938806" sldId="2147473016"/>
        </pc:sldMkLst>
      </pc:sldChg>
      <pc:sldChg chg="add del">
        <pc:chgData name="Fatma Alsagaf" userId="ef587b5e-378a-4bb3-aa9f-3c15b98138a4" providerId="ADAL" clId="{0473C69F-9FA4-4BB2-AFA3-DCC9F278D1E1}" dt="2025-09-12T08:54:33.321" v="15" actId="47"/>
        <pc:sldMkLst>
          <pc:docMk/>
          <pc:sldMk cId="2005987998" sldId="2147473017"/>
        </pc:sldMkLst>
      </pc:sldChg>
      <pc:sldChg chg="add del">
        <pc:chgData name="Fatma Alsagaf" userId="ef587b5e-378a-4bb3-aa9f-3c15b98138a4" providerId="ADAL" clId="{0473C69F-9FA4-4BB2-AFA3-DCC9F278D1E1}" dt="2025-09-12T08:55:27.780" v="22" actId="47"/>
        <pc:sldMkLst>
          <pc:docMk/>
          <pc:sldMk cId="1128952414" sldId="2147473018"/>
        </pc:sldMkLst>
      </pc:sldChg>
      <pc:sldChg chg="add del">
        <pc:chgData name="Fatma Alsagaf" userId="ef587b5e-378a-4bb3-aa9f-3c15b98138a4" providerId="ADAL" clId="{0473C69F-9FA4-4BB2-AFA3-DCC9F278D1E1}" dt="2025-09-12T09:04:54.658" v="97" actId="47"/>
        <pc:sldMkLst>
          <pc:docMk/>
          <pc:sldMk cId="3222029589" sldId="2147473019"/>
        </pc:sldMkLst>
      </pc:sldChg>
      <pc:sldChg chg="add del">
        <pc:chgData name="Fatma Alsagaf" userId="ef587b5e-378a-4bb3-aa9f-3c15b98138a4" providerId="ADAL" clId="{0473C69F-9FA4-4BB2-AFA3-DCC9F278D1E1}" dt="2025-09-12T09:06:11.805" v="108" actId="47"/>
        <pc:sldMkLst>
          <pc:docMk/>
          <pc:sldMk cId="3704885314" sldId="2147473020"/>
        </pc:sldMkLst>
      </pc:sldChg>
      <pc:sldChg chg="add del">
        <pc:chgData name="Fatma Alsagaf" userId="ef587b5e-378a-4bb3-aa9f-3c15b98138a4" providerId="ADAL" clId="{0473C69F-9FA4-4BB2-AFA3-DCC9F278D1E1}" dt="2025-09-12T08:57:29.273" v="24" actId="47"/>
        <pc:sldMkLst>
          <pc:docMk/>
          <pc:sldMk cId="3110746151" sldId="2147473021"/>
        </pc:sldMkLst>
      </pc:sldChg>
      <pc:sldChg chg="add del">
        <pc:chgData name="Fatma Alsagaf" userId="ef587b5e-378a-4bb3-aa9f-3c15b98138a4" providerId="ADAL" clId="{0473C69F-9FA4-4BB2-AFA3-DCC9F278D1E1}" dt="2025-09-12T09:06:12.632" v="109" actId="47"/>
        <pc:sldMkLst>
          <pc:docMk/>
          <pc:sldMk cId="462438864" sldId="2147473029"/>
        </pc:sldMkLst>
      </pc:sldChg>
      <pc:sldChg chg="del">
        <pc:chgData name="Fatma Alsagaf" userId="ef587b5e-378a-4bb3-aa9f-3c15b98138a4" providerId="ADAL" clId="{0473C69F-9FA4-4BB2-AFA3-DCC9F278D1E1}" dt="2025-09-12T09:12:33.200" v="136" actId="47"/>
        <pc:sldMkLst>
          <pc:docMk/>
          <pc:sldMk cId="2431252933" sldId="2147475063"/>
        </pc:sldMkLst>
      </pc:sldChg>
      <pc:sldChg chg="modSp add mod">
        <pc:chgData name="Fatma Alsagaf" userId="ef587b5e-378a-4bb3-aa9f-3c15b98138a4" providerId="ADAL" clId="{0473C69F-9FA4-4BB2-AFA3-DCC9F278D1E1}" dt="2025-09-12T08:59:20.001" v="67" actId="20577"/>
        <pc:sldMkLst>
          <pc:docMk/>
          <pc:sldMk cId="1334668053" sldId="2147475064"/>
        </pc:sldMkLst>
        <pc:spChg chg="mod">
          <ac:chgData name="Fatma Alsagaf" userId="ef587b5e-378a-4bb3-aa9f-3c15b98138a4" providerId="ADAL" clId="{0473C69F-9FA4-4BB2-AFA3-DCC9F278D1E1}" dt="2025-09-12T08:59:20.001" v="67" actId="20577"/>
          <ac:spMkLst>
            <pc:docMk/>
            <pc:sldMk cId="1334668053" sldId="2147475064"/>
            <ac:spMk id="10" creationId="{B1D54BC0-B1BD-4863-A9D4-24EEC2CDFEDC}"/>
          </ac:spMkLst>
        </pc:spChg>
      </pc:sldChg>
      <pc:sldChg chg="add del">
        <pc:chgData name="Fatma Alsagaf" userId="ef587b5e-378a-4bb3-aa9f-3c15b98138a4" providerId="ADAL" clId="{0473C69F-9FA4-4BB2-AFA3-DCC9F278D1E1}" dt="2025-09-12T08:58:13.930" v="29" actId="47"/>
        <pc:sldMkLst>
          <pc:docMk/>
          <pc:sldMk cId="2490430891" sldId="2147475065"/>
        </pc:sldMkLst>
      </pc:sldChg>
      <pc:sldChg chg="add del">
        <pc:chgData name="Fatma Alsagaf" userId="ef587b5e-378a-4bb3-aa9f-3c15b98138a4" providerId="ADAL" clId="{0473C69F-9FA4-4BB2-AFA3-DCC9F278D1E1}" dt="2025-09-12T09:00:47.314" v="77" actId="47"/>
        <pc:sldMkLst>
          <pc:docMk/>
          <pc:sldMk cId="2315253567" sldId="2147475066"/>
        </pc:sldMkLst>
      </pc:sldChg>
    </pc:docChg>
  </pc:docChgLst>
  <pc:docChgLst>
    <pc:chgData name="Oliver Menebhi" userId="3f6a3078-7721-4311-a1c4-1afb0ef7523f" providerId="ADAL" clId="{B3663ACA-8A18-4DF6-BDE6-9803127C87C1}"/>
    <pc:docChg chg="custSel addSld delSld modSld sldOrd">
      <pc:chgData name="Oliver Menebhi" userId="3f6a3078-7721-4311-a1c4-1afb0ef7523f" providerId="ADAL" clId="{B3663ACA-8A18-4DF6-BDE6-9803127C87C1}" dt="2025-07-16T07:14:56.941" v="927" actId="20577"/>
      <pc:docMkLst>
        <pc:docMk/>
      </pc:docMkLst>
      <pc:sldChg chg="modSp mod">
        <pc:chgData name="Oliver Menebhi" userId="3f6a3078-7721-4311-a1c4-1afb0ef7523f" providerId="ADAL" clId="{B3663ACA-8A18-4DF6-BDE6-9803127C87C1}" dt="2025-07-16T06:55:59.661" v="0" actId="20577"/>
        <pc:sldMkLst>
          <pc:docMk/>
          <pc:sldMk cId="198709180" sldId="256"/>
        </pc:sldMkLst>
        <pc:spChg chg="mod">
          <ac:chgData name="Oliver Menebhi" userId="3f6a3078-7721-4311-a1c4-1afb0ef7523f" providerId="ADAL" clId="{B3663ACA-8A18-4DF6-BDE6-9803127C87C1}" dt="2025-07-16T06:55:59.661" v="0" actId="20577"/>
          <ac:spMkLst>
            <pc:docMk/>
            <pc:sldMk cId="198709180" sldId="256"/>
            <ac:spMk id="5" creationId="{D3097811-FFDF-0D94-F3F2-C77967D53A3D}"/>
          </ac:spMkLst>
        </pc:spChg>
      </pc:sldChg>
      <pc:sldChg chg="delSp mod">
        <pc:chgData name="Oliver Menebhi" userId="3f6a3078-7721-4311-a1c4-1afb0ef7523f" providerId="ADAL" clId="{B3663ACA-8A18-4DF6-BDE6-9803127C87C1}" dt="2025-07-16T07:00:13.377" v="364" actId="478"/>
        <pc:sldMkLst>
          <pc:docMk/>
          <pc:sldMk cId="711853774" sldId="263"/>
        </pc:sldMkLst>
      </pc:sldChg>
      <pc:sldChg chg="addSp delSp modSp mod">
        <pc:chgData name="Oliver Menebhi" userId="3f6a3078-7721-4311-a1c4-1afb0ef7523f" providerId="ADAL" clId="{B3663ACA-8A18-4DF6-BDE6-9803127C87C1}" dt="2025-07-16T07:01:41.782" v="385" actId="14100"/>
        <pc:sldMkLst>
          <pc:docMk/>
          <pc:sldMk cId="1282756989" sldId="264"/>
        </pc:sldMkLst>
      </pc:sldChg>
      <pc:sldChg chg="del">
        <pc:chgData name="Oliver Menebhi" userId="3f6a3078-7721-4311-a1c4-1afb0ef7523f" providerId="ADAL" clId="{B3663ACA-8A18-4DF6-BDE6-9803127C87C1}" dt="2025-07-16T06:57:29.519" v="82" actId="47"/>
        <pc:sldMkLst>
          <pc:docMk/>
          <pc:sldMk cId="271532293" sldId="265"/>
        </pc:sldMkLst>
      </pc:sldChg>
      <pc:sldChg chg="delSp del mod ord">
        <pc:chgData name="Oliver Menebhi" userId="3f6a3078-7721-4311-a1c4-1afb0ef7523f" providerId="ADAL" clId="{B3663ACA-8A18-4DF6-BDE6-9803127C87C1}" dt="2025-07-16T07:05:29.525" v="488" actId="47"/>
        <pc:sldMkLst>
          <pc:docMk/>
          <pc:sldMk cId="1710822405" sldId="266"/>
        </pc:sldMkLst>
      </pc:sldChg>
      <pc:sldChg chg="del">
        <pc:chgData name="Oliver Menebhi" userId="3f6a3078-7721-4311-a1c4-1afb0ef7523f" providerId="ADAL" clId="{B3663ACA-8A18-4DF6-BDE6-9803127C87C1}" dt="2025-07-16T06:57:30.304" v="83" actId="47"/>
        <pc:sldMkLst>
          <pc:docMk/>
          <pc:sldMk cId="3191247555" sldId="269"/>
        </pc:sldMkLst>
      </pc:sldChg>
      <pc:sldChg chg="del">
        <pc:chgData name="Oliver Menebhi" userId="3f6a3078-7721-4311-a1c4-1afb0ef7523f" providerId="ADAL" clId="{B3663ACA-8A18-4DF6-BDE6-9803127C87C1}" dt="2025-07-16T06:57:33.910" v="86" actId="47"/>
        <pc:sldMkLst>
          <pc:docMk/>
          <pc:sldMk cId="134894632" sldId="270"/>
        </pc:sldMkLst>
      </pc:sldChg>
      <pc:sldChg chg="del">
        <pc:chgData name="Oliver Menebhi" userId="3f6a3078-7721-4311-a1c4-1afb0ef7523f" providerId="ADAL" clId="{B3663ACA-8A18-4DF6-BDE6-9803127C87C1}" dt="2025-07-16T06:57:34.389" v="87" actId="47"/>
        <pc:sldMkLst>
          <pc:docMk/>
          <pc:sldMk cId="2412515236" sldId="271"/>
        </pc:sldMkLst>
      </pc:sldChg>
      <pc:sldChg chg="del">
        <pc:chgData name="Oliver Menebhi" userId="3f6a3078-7721-4311-a1c4-1afb0ef7523f" providerId="ADAL" clId="{B3663ACA-8A18-4DF6-BDE6-9803127C87C1}" dt="2025-07-16T06:57:37.143" v="88" actId="47"/>
        <pc:sldMkLst>
          <pc:docMk/>
          <pc:sldMk cId="3134513593" sldId="272"/>
        </pc:sldMkLst>
      </pc:sldChg>
      <pc:sldChg chg="del">
        <pc:chgData name="Oliver Menebhi" userId="3f6a3078-7721-4311-a1c4-1afb0ef7523f" providerId="ADAL" clId="{B3663ACA-8A18-4DF6-BDE6-9803127C87C1}" dt="2025-07-16T06:57:38.639" v="89" actId="47"/>
        <pc:sldMkLst>
          <pc:docMk/>
          <pc:sldMk cId="4182459783" sldId="273"/>
        </pc:sldMkLst>
      </pc:sldChg>
      <pc:sldChg chg="delSp modSp mod">
        <pc:chgData name="Oliver Menebhi" userId="3f6a3078-7721-4311-a1c4-1afb0ef7523f" providerId="ADAL" clId="{B3663ACA-8A18-4DF6-BDE6-9803127C87C1}" dt="2025-07-16T06:59:54.429" v="362" actId="20577"/>
        <pc:sldMkLst>
          <pc:docMk/>
          <pc:sldMk cId="2030895402" sldId="274"/>
        </pc:sldMkLst>
        <pc:spChg chg="mod">
          <ac:chgData name="Oliver Menebhi" userId="3f6a3078-7721-4311-a1c4-1afb0ef7523f" providerId="ADAL" clId="{B3663ACA-8A18-4DF6-BDE6-9803127C87C1}" dt="2025-07-16T06:59:54.429" v="362" actId="20577"/>
          <ac:spMkLst>
            <pc:docMk/>
            <pc:sldMk cId="2030895402" sldId="274"/>
            <ac:spMk id="8" creationId="{92D75785-0C54-EEFA-56A5-19041821F289}"/>
          </ac:spMkLst>
        </pc:spChg>
      </pc:sldChg>
      <pc:sldChg chg="addSp delSp modSp add mod ord delAnim modAnim">
        <pc:chgData name="Oliver Menebhi" userId="3f6a3078-7721-4311-a1c4-1afb0ef7523f" providerId="ADAL" clId="{B3663ACA-8A18-4DF6-BDE6-9803127C87C1}" dt="2025-07-16T07:02:31.752" v="428" actId="20577"/>
        <pc:sldMkLst>
          <pc:docMk/>
          <pc:sldMk cId="2416139910" sldId="275"/>
        </pc:sldMkLst>
      </pc:sldChg>
      <pc:sldChg chg="del">
        <pc:chgData name="Oliver Menebhi" userId="3f6a3078-7721-4311-a1c4-1afb0ef7523f" providerId="ADAL" clId="{B3663ACA-8A18-4DF6-BDE6-9803127C87C1}" dt="2025-07-16T07:00:06.623" v="363" actId="47"/>
        <pc:sldMkLst>
          <pc:docMk/>
          <pc:sldMk cId="3476715802" sldId="275"/>
        </pc:sldMkLst>
      </pc:sldChg>
      <pc:sldChg chg="del">
        <pc:chgData name="Oliver Menebhi" userId="3f6a3078-7721-4311-a1c4-1afb0ef7523f" providerId="ADAL" clId="{B3663ACA-8A18-4DF6-BDE6-9803127C87C1}" dt="2025-07-16T06:57:28.880" v="81" actId="47"/>
        <pc:sldMkLst>
          <pc:docMk/>
          <pc:sldMk cId="827801409" sldId="276"/>
        </pc:sldMkLst>
      </pc:sldChg>
      <pc:sldChg chg="del">
        <pc:chgData name="Oliver Menebhi" userId="3f6a3078-7721-4311-a1c4-1afb0ef7523f" providerId="ADAL" clId="{B3663ACA-8A18-4DF6-BDE6-9803127C87C1}" dt="2025-07-16T06:57:30.845" v="84" actId="47"/>
        <pc:sldMkLst>
          <pc:docMk/>
          <pc:sldMk cId="761355881" sldId="277"/>
        </pc:sldMkLst>
      </pc:sldChg>
      <pc:sldChg chg="del">
        <pc:chgData name="Oliver Menebhi" userId="3f6a3078-7721-4311-a1c4-1afb0ef7523f" providerId="ADAL" clId="{B3663ACA-8A18-4DF6-BDE6-9803127C87C1}" dt="2025-07-16T06:57:31.206" v="85" actId="47"/>
        <pc:sldMkLst>
          <pc:docMk/>
          <pc:sldMk cId="404410523" sldId="278"/>
        </pc:sldMkLst>
      </pc:sldChg>
      <pc:sldChg chg="modSp add mod">
        <pc:chgData name="Oliver Menebhi" userId="3f6a3078-7721-4311-a1c4-1afb0ef7523f" providerId="ADAL" clId="{B3663ACA-8A18-4DF6-BDE6-9803127C87C1}" dt="2025-07-16T07:04:49.234" v="446" actId="20577"/>
        <pc:sldMkLst>
          <pc:docMk/>
          <pc:sldMk cId="2988757502" sldId="2147378629"/>
        </pc:sldMkLst>
      </pc:sldChg>
      <pc:sldChg chg="add">
        <pc:chgData name="Oliver Menebhi" userId="3f6a3078-7721-4311-a1c4-1afb0ef7523f" providerId="ADAL" clId="{B3663ACA-8A18-4DF6-BDE6-9803127C87C1}" dt="2025-07-16T07:03:55.654" v="430"/>
        <pc:sldMkLst>
          <pc:docMk/>
          <pc:sldMk cId="78340602" sldId="2147378630"/>
        </pc:sldMkLst>
      </pc:sldChg>
      <pc:sldChg chg="modSp add mod">
        <pc:chgData name="Oliver Menebhi" userId="3f6a3078-7721-4311-a1c4-1afb0ef7523f" providerId="ADAL" clId="{B3663ACA-8A18-4DF6-BDE6-9803127C87C1}" dt="2025-07-16T07:05:06.752" v="462" actId="20577"/>
        <pc:sldMkLst>
          <pc:docMk/>
          <pc:sldMk cId="425199607" sldId="2147378631"/>
        </pc:sldMkLst>
      </pc:sldChg>
      <pc:sldChg chg="addSp modSp add mod modAnim">
        <pc:chgData name="Oliver Menebhi" userId="3f6a3078-7721-4311-a1c4-1afb0ef7523f" providerId="ADAL" clId="{B3663ACA-8A18-4DF6-BDE6-9803127C87C1}" dt="2025-07-16T07:09:49.585" v="642"/>
        <pc:sldMkLst>
          <pc:docMk/>
          <pc:sldMk cId="1014985269" sldId="2147378632"/>
        </pc:sldMkLst>
      </pc:sldChg>
      <pc:sldChg chg="modSp add">
        <pc:chgData name="Oliver Menebhi" userId="3f6a3078-7721-4311-a1c4-1afb0ef7523f" providerId="ADAL" clId="{B3663ACA-8A18-4DF6-BDE6-9803127C87C1}" dt="2025-07-16T07:12:47.735" v="754" actId="20577"/>
        <pc:sldMkLst>
          <pc:docMk/>
          <pc:sldMk cId="3626355901" sldId="2147472751"/>
        </pc:sldMkLst>
      </pc:sldChg>
      <pc:sldChg chg="modSp add">
        <pc:chgData name="Oliver Menebhi" userId="3f6a3078-7721-4311-a1c4-1afb0ef7523f" providerId="ADAL" clId="{B3663ACA-8A18-4DF6-BDE6-9803127C87C1}" dt="2025-07-16T07:14:56.941" v="927" actId="20577"/>
        <pc:sldMkLst>
          <pc:docMk/>
          <pc:sldMk cId="3287757105" sldId="2147472752"/>
        </pc:sldMkLst>
      </pc:sldChg>
      <pc:sldChg chg="add">
        <pc:chgData name="Oliver Menebhi" userId="3f6a3078-7721-4311-a1c4-1afb0ef7523f" providerId="ADAL" clId="{B3663ACA-8A18-4DF6-BDE6-9803127C87C1}" dt="2025-07-16T07:03:28.312" v="429"/>
        <pc:sldMkLst>
          <pc:docMk/>
          <pc:sldMk cId="2911848545" sldId="2147472829"/>
        </pc:sldMkLst>
      </pc:sldChg>
      <pc:sldChg chg="addSp delSp modSp add mod ord modAnim">
        <pc:chgData name="Oliver Menebhi" userId="3f6a3078-7721-4311-a1c4-1afb0ef7523f" providerId="ADAL" clId="{B3663ACA-8A18-4DF6-BDE6-9803127C87C1}" dt="2025-07-16T07:06:36.505" v="569" actId="207"/>
        <pc:sldMkLst>
          <pc:docMk/>
          <pc:sldMk cId="772722835" sldId="2147472830"/>
        </pc:sldMkLst>
      </pc:sldChg>
      <pc:sldChg chg="addSp delSp modSp new mod modAnim">
        <pc:chgData name="Oliver Menebhi" userId="3f6a3078-7721-4311-a1c4-1afb0ef7523f" providerId="ADAL" clId="{B3663ACA-8A18-4DF6-BDE6-9803127C87C1}" dt="2025-07-16T07:09:25.712" v="638" actId="1076"/>
        <pc:sldMkLst>
          <pc:docMk/>
          <pc:sldMk cId="166854795" sldId="2147472831"/>
        </pc:sldMkLst>
      </pc:sldChg>
      <pc:sldChg chg="modSp add mod">
        <pc:chgData name="Oliver Menebhi" userId="3f6a3078-7721-4311-a1c4-1afb0ef7523f" providerId="ADAL" clId="{B3663ACA-8A18-4DF6-BDE6-9803127C87C1}" dt="2025-07-16T07:10:12.578" v="655" actId="20577"/>
        <pc:sldMkLst>
          <pc:docMk/>
          <pc:sldMk cId="2431252933" sldId="2147475063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468619-2E5C-4DA3-829A-1EAD77976778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AB54FB5-3F88-4B1C-A443-DB8754C7069B}">
      <dgm:prSet phldrT="[Text]" custT="1"/>
      <dgm:spPr>
        <a:solidFill>
          <a:srgbClr val="243782"/>
        </a:solidFill>
      </dgm:spPr>
      <dgm:t>
        <a:bodyPr/>
        <a:lstStyle/>
        <a:p>
          <a:r>
            <a:rPr lang="en-US" sz="1800" b="1">
              <a:latin typeface="Arial (Headings)"/>
            </a:rPr>
            <a:t>REVIEW</a:t>
          </a:r>
        </a:p>
      </dgm:t>
    </dgm:pt>
    <dgm:pt modelId="{E187249D-03A8-4597-84F3-251B45777F3D}" type="parTrans" cxnId="{9BBC22EB-4173-4554-9546-E0DBE0450174}">
      <dgm:prSet/>
      <dgm:spPr/>
      <dgm:t>
        <a:bodyPr/>
        <a:lstStyle/>
        <a:p>
          <a:endParaRPr lang="en-US"/>
        </a:p>
      </dgm:t>
    </dgm:pt>
    <dgm:pt modelId="{B5A1C2DB-75F6-450B-987F-158CC25B82B8}" type="sibTrans" cxnId="{9BBC22EB-4173-4554-9546-E0DBE0450174}">
      <dgm:prSet/>
      <dgm:spPr/>
      <dgm:t>
        <a:bodyPr/>
        <a:lstStyle/>
        <a:p>
          <a:endParaRPr lang="en-US"/>
        </a:p>
      </dgm:t>
    </dgm:pt>
    <dgm:pt modelId="{E6CDBFDE-1413-4FA6-A90A-5283143D2CBC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Appropriate descriptive subject line</a:t>
          </a:r>
        </a:p>
      </dgm:t>
    </dgm:pt>
    <dgm:pt modelId="{16F19077-AB2F-4844-94D0-D5A14A246BC2}" type="parTrans" cxnId="{D1E972DA-E576-4C9B-B65C-3B2895F98624}">
      <dgm:prSet/>
      <dgm:spPr/>
      <dgm:t>
        <a:bodyPr/>
        <a:lstStyle/>
        <a:p>
          <a:endParaRPr lang="en-US"/>
        </a:p>
      </dgm:t>
    </dgm:pt>
    <dgm:pt modelId="{29063DED-FBFC-4BC2-A969-2DED538D436F}" type="sibTrans" cxnId="{D1E972DA-E576-4C9B-B65C-3B2895F98624}">
      <dgm:prSet/>
      <dgm:spPr/>
      <dgm:t>
        <a:bodyPr/>
        <a:lstStyle/>
        <a:p>
          <a:endParaRPr lang="en-US"/>
        </a:p>
      </dgm:t>
    </dgm:pt>
    <dgm:pt modelId="{28C121CB-61A3-44A8-A03B-059147D295F8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Thanked them for their interest</a:t>
          </a:r>
        </a:p>
      </dgm:t>
    </dgm:pt>
    <dgm:pt modelId="{2FAEA671-3F8B-41E9-B4E5-1B2DE35B043C}" type="parTrans" cxnId="{591EB48D-17E4-4F19-BCD8-908751CAA354}">
      <dgm:prSet/>
      <dgm:spPr/>
      <dgm:t>
        <a:bodyPr/>
        <a:lstStyle/>
        <a:p>
          <a:endParaRPr lang="en-US"/>
        </a:p>
      </dgm:t>
    </dgm:pt>
    <dgm:pt modelId="{92C01530-020E-4DB0-96C9-F02B4A8BE28C}" type="sibTrans" cxnId="{591EB48D-17E4-4F19-BCD8-908751CAA354}">
      <dgm:prSet/>
      <dgm:spPr/>
      <dgm:t>
        <a:bodyPr/>
        <a:lstStyle/>
        <a:p>
          <a:endParaRPr lang="en-US"/>
        </a:p>
      </dgm:t>
    </dgm:pt>
    <dgm:pt modelId="{F2839EC6-C55D-4A6F-B2B9-9A2E48B4EDDE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Addressed prospective customers by name</a:t>
          </a:r>
        </a:p>
      </dgm:t>
    </dgm:pt>
    <dgm:pt modelId="{6AC9AAB9-9361-48A1-9199-AC9FAF6B7ECF}" type="parTrans" cxnId="{8D986FBB-F430-492B-BF9B-549B05AC9831}">
      <dgm:prSet/>
      <dgm:spPr/>
      <dgm:t>
        <a:bodyPr/>
        <a:lstStyle/>
        <a:p>
          <a:endParaRPr lang="en-US"/>
        </a:p>
      </dgm:t>
    </dgm:pt>
    <dgm:pt modelId="{8EB9D79A-91AC-49EC-A6BB-327621C2BE18}" type="sibTrans" cxnId="{8D986FBB-F430-492B-BF9B-549B05AC9831}">
      <dgm:prSet/>
      <dgm:spPr/>
      <dgm:t>
        <a:bodyPr/>
        <a:lstStyle/>
        <a:p>
          <a:endParaRPr lang="en-US"/>
        </a:p>
      </dgm:t>
    </dgm:pt>
    <dgm:pt modelId="{3B856125-B30D-4676-AD97-B372E4E2A430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Introduced yourself (Name, Position, Dealership)</a:t>
          </a:r>
        </a:p>
      </dgm:t>
    </dgm:pt>
    <dgm:pt modelId="{89B03534-B7EE-4639-9BCD-68D308A8E9D3}" type="parTrans" cxnId="{33622BB3-BB62-424C-9FEF-A0DB332F7F0E}">
      <dgm:prSet/>
      <dgm:spPr/>
      <dgm:t>
        <a:bodyPr/>
        <a:lstStyle/>
        <a:p>
          <a:endParaRPr lang="en-US"/>
        </a:p>
      </dgm:t>
    </dgm:pt>
    <dgm:pt modelId="{AF7E721E-1697-46D5-8638-DB829CC07813}" type="sibTrans" cxnId="{33622BB3-BB62-424C-9FEF-A0DB332F7F0E}">
      <dgm:prSet/>
      <dgm:spPr/>
      <dgm:t>
        <a:bodyPr/>
        <a:lstStyle/>
        <a:p>
          <a:endParaRPr lang="en-US"/>
        </a:p>
      </dgm:t>
    </dgm:pt>
    <dgm:pt modelId="{34306B6A-7CF5-45CC-A798-AFC2363D0C10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Answered and/or addressed all questions</a:t>
          </a:r>
        </a:p>
      </dgm:t>
    </dgm:pt>
    <dgm:pt modelId="{5D01642D-544A-4BA8-8B38-01801FF44243}" type="parTrans" cxnId="{57A8B29B-E130-4159-898B-3C2BBDDBF13F}">
      <dgm:prSet/>
      <dgm:spPr/>
      <dgm:t>
        <a:bodyPr/>
        <a:lstStyle/>
        <a:p>
          <a:endParaRPr lang="en-US"/>
        </a:p>
      </dgm:t>
    </dgm:pt>
    <dgm:pt modelId="{28D9B45F-34F4-424B-9401-E577C137F134}" type="sibTrans" cxnId="{57A8B29B-E130-4159-898B-3C2BBDDBF13F}">
      <dgm:prSet/>
      <dgm:spPr/>
      <dgm:t>
        <a:bodyPr/>
        <a:lstStyle/>
        <a:p>
          <a:endParaRPr lang="en-US"/>
        </a:p>
      </dgm:t>
    </dgm:pt>
    <dgm:pt modelId="{1F0BDBA9-99CF-4BCB-8E9B-2109975ECDB8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Spell and grammar check</a:t>
          </a:r>
        </a:p>
      </dgm:t>
    </dgm:pt>
    <dgm:pt modelId="{883F3FFA-D957-462D-B754-B7986961ED70}" type="parTrans" cxnId="{B6CDCB9B-C812-4FBA-BB63-5A49530C7EA7}">
      <dgm:prSet/>
      <dgm:spPr/>
      <dgm:t>
        <a:bodyPr/>
        <a:lstStyle/>
        <a:p>
          <a:endParaRPr lang="en-US"/>
        </a:p>
      </dgm:t>
    </dgm:pt>
    <dgm:pt modelId="{785AF9C2-5113-419E-A98F-E64F52D15A9C}" type="sibTrans" cxnId="{B6CDCB9B-C812-4FBA-BB63-5A49530C7EA7}">
      <dgm:prSet/>
      <dgm:spPr/>
      <dgm:t>
        <a:bodyPr/>
        <a:lstStyle/>
        <a:p>
          <a:endParaRPr lang="en-US"/>
        </a:p>
      </dgm:t>
    </dgm:pt>
    <dgm:pt modelId="{E1DE0408-74B4-40E8-AEFC-C5153225AF63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Email can be read in 2 – 3 mins</a:t>
          </a:r>
        </a:p>
      </dgm:t>
    </dgm:pt>
    <dgm:pt modelId="{E6156AE4-883F-4348-A053-99B986C88AEA}" type="parTrans" cxnId="{0F9BDE64-3D31-4981-962D-10924693F5FA}">
      <dgm:prSet/>
      <dgm:spPr/>
      <dgm:t>
        <a:bodyPr/>
        <a:lstStyle/>
        <a:p>
          <a:endParaRPr lang="en-US"/>
        </a:p>
      </dgm:t>
    </dgm:pt>
    <dgm:pt modelId="{BF461806-9AFE-4231-9BC6-45D5146D9FC5}" type="sibTrans" cxnId="{0F9BDE64-3D31-4981-962D-10924693F5FA}">
      <dgm:prSet/>
      <dgm:spPr/>
      <dgm:t>
        <a:bodyPr/>
        <a:lstStyle/>
        <a:p>
          <a:endParaRPr lang="en-US"/>
        </a:p>
      </dgm:t>
    </dgm:pt>
    <dgm:pt modelId="{182C0FBA-54B2-4EF1-8CE9-B52D99A4789F}" type="pres">
      <dgm:prSet presAssocID="{92468619-2E5C-4DA3-829A-1EAD77976778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26F1780-A010-475B-8DFD-90DC2E295084}" type="pres">
      <dgm:prSet presAssocID="{EAB54FB5-3F88-4B1C-A443-DB8754C7069B}" presName="vertOne" presStyleCnt="0"/>
      <dgm:spPr/>
    </dgm:pt>
    <dgm:pt modelId="{B7B08494-735B-466A-842D-DF9BFA3521AD}" type="pres">
      <dgm:prSet presAssocID="{EAB54FB5-3F88-4B1C-A443-DB8754C7069B}" presName="txOne" presStyleLbl="node0" presStyleIdx="0" presStyleCnt="1" custLinFactNeighborX="-67663" custLinFactNeighborY="-7856">
        <dgm:presLayoutVars>
          <dgm:chPref val="3"/>
        </dgm:presLayoutVars>
      </dgm:prSet>
      <dgm:spPr/>
    </dgm:pt>
    <dgm:pt modelId="{2CEE4DF6-1130-4161-B0AF-AD5BE5420ADF}" type="pres">
      <dgm:prSet presAssocID="{EAB54FB5-3F88-4B1C-A443-DB8754C7069B}" presName="parTransOne" presStyleCnt="0"/>
      <dgm:spPr/>
    </dgm:pt>
    <dgm:pt modelId="{C4C63BA3-D7D8-473B-87A6-AA919FAA0EAA}" type="pres">
      <dgm:prSet presAssocID="{EAB54FB5-3F88-4B1C-A443-DB8754C7069B}" presName="horzOne" presStyleCnt="0"/>
      <dgm:spPr/>
    </dgm:pt>
    <dgm:pt modelId="{B3D79993-1C78-40DD-9178-D003FEA2C14D}" type="pres">
      <dgm:prSet presAssocID="{E6CDBFDE-1413-4FA6-A90A-5283143D2CBC}" presName="vertTwo" presStyleCnt="0"/>
      <dgm:spPr/>
    </dgm:pt>
    <dgm:pt modelId="{DA5331A6-DCEB-4751-9FEF-75DF76ED7A9F}" type="pres">
      <dgm:prSet presAssocID="{E6CDBFDE-1413-4FA6-A90A-5283143D2CBC}" presName="txTwo" presStyleLbl="node2" presStyleIdx="0" presStyleCnt="1">
        <dgm:presLayoutVars>
          <dgm:chPref val="3"/>
        </dgm:presLayoutVars>
      </dgm:prSet>
      <dgm:spPr/>
    </dgm:pt>
    <dgm:pt modelId="{6B14AFE1-A6E8-4997-93B5-EF1A0C25A7E3}" type="pres">
      <dgm:prSet presAssocID="{E6CDBFDE-1413-4FA6-A90A-5283143D2CBC}" presName="parTransTwo" presStyleCnt="0"/>
      <dgm:spPr/>
    </dgm:pt>
    <dgm:pt modelId="{5E1C0694-BE26-4D6F-AD05-931FC983A477}" type="pres">
      <dgm:prSet presAssocID="{E6CDBFDE-1413-4FA6-A90A-5283143D2CBC}" presName="horzTwo" presStyleCnt="0"/>
      <dgm:spPr/>
    </dgm:pt>
    <dgm:pt modelId="{2974AD5F-7187-4ED5-BE92-BA5C6473500A}" type="pres">
      <dgm:prSet presAssocID="{F2839EC6-C55D-4A6F-B2B9-9A2E48B4EDDE}" presName="vertThree" presStyleCnt="0"/>
      <dgm:spPr/>
    </dgm:pt>
    <dgm:pt modelId="{9C928FEA-A4AC-4FC9-AF72-80429CE4D843}" type="pres">
      <dgm:prSet presAssocID="{F2839EC6-C55D-4A6F-B2B9-9A2E48B4EDDE}" presName="txThree" presStyleLbl="node3" presStyleIdx="0" presStyleCnt="1">
        <dgm:presLayoutVars>
          <dgm:chPref val="3"/>
        </dgm:presLayoutVars>
      </dgm:prSet>
      <dgm:spPr/>
    </dgm:pt>
    <dgm:pt modelId="{4CF5AE16-6EE8-4783-AB3B-CDA50B2989BD}" type="pres">
      <dgm:prSet presAssocID="{F2839EC6-C55D-4A6F-B2B9-9A2E48B4EDDE}" presName="parTransThree" presStyleCnt="0"/>
      <dgm:spPr/>
    </dgm:pt>
    <dgm:pt modelId="{9A40DA42-EF12-4635-96EC-B20174122A15}" type="pres">
      <dgm:prSet presAssocID="{F2839EC6-C55D-4A6F-B2B9-9A2E48B4EDDE}" presName="horzThree" presStyleCnt="0"/>
      <dgm:spPr/>
    </dgm:pt>
    <dgm:pt modelId="{ECECCE20-B42C-45C5-A935-33C4D8434623}" type="pres">
      <dgm:prSet presAssocID="{28C121CB-61A3-44A8-A03B-059147D295F8}" presName="vertFour" presStyleCnt="0">
        <dgm:presLayoutVars>
          <dgm:chPref val="3"/>
        </dgm:presLayoutVars>
      </dgm:prSet>
      <dgm:spPr/>
    </dgm:pt>
    <dgm:pt modelId="{647B045C-CD47-4538-81BC-D81BFCCBCFA5}" type="pres">
      <dgm:prSet presAssocID="{28C121CB-61A3-44A8-A03B-059147D295F8}" presName="txFour" presStyleLbl="node4" presStyleIdx="0" presStyleCnt="5">
        <dgm:presLayoutVars>
          <dgm:chPref val="3"/>
        </dgm:presLayoutVars>
      </dgm:prSet>
      <dgm:spPr/>
    </dgm:pt>
    <dgm:pt modelId="{B2572BA5-3759-488F-84E8-E93D30241118}" type="pres">
      <dgm:prSet presAssocID="{28C121CB-61A3-44A8-A03B-059147D295F8}" presName="parTransFour" presStyleCnt="0"/>
      <dgm:spPr/>
    </dgm:pt>
    <dgm:pt modelId="{BDBEE72C-9AF8-4628-9C68-0D2D10EE4B9B}" type="pres">
      <dgm:prSet presAssocID="{28C121CB-61A3-44A8-A03B-059147D295F8}" presName="horzFour" presStyleCnt="0"/>
      <dgm:spPr/>
    </dgm:pt>
    <dgm:pt modelId="{FD2E592D-A19E-4E57-B053-50DB87FAE8DA}" type="pres">
      <dgm:prSet presAssocID="{3B856125-B30D-4676-AD97-B372E4E2A430}" presName="vertFour" presStyleCnt="0">
        <dgm:presLayoutVars>
          <dgm:chPref val="3"/>
        </dgm:presLayoutVars>
      </dgm:prSet>
      <dgm:spPr/>
    </dgm:pt>
    <dgm:pt modelId="{3F02C9F8-EA49-475A-BF24-2EA59E4BC0FE}" type="pres">
      <dgm:prSet presAssocID="{3B856125-B30D-4676-AD97-B372E4E2A430}" presName="txFour" presStyleLbl="node4" presStyleIdx="1" presStyleCnt="5">
        <dgm:presLayoutVars>
          <dgm:chPref val="3"/>
        </dgm:presLayoutVars>
      </dgm:prSet>
      <dgm:spPr/>
    </dgm:pt>
    <dgm:pt modelId="{410EEE90-4FDF-4A2E-8621-6744A7B205E7}" type="pres">
      <dgm:prSet presAssocID="{3B856125-B30D-4676-AD97-B372E4E2A430}" presName="parTransFour" presStyleCnt="0"/>
      <dgm:spPr/>
    </dgm:pt>
    <dgm:pt modelId="{A48CAFA1-61F8-4FD5-B56B-DE8349EC3968}" type="pres">
      <dgm:prSet presAssocID="{3B856125-B30D-4676-AD97-B372E4E2A430}" presName="horzFour" presStyleCnt="0"/>
      <dgm:spPr/>
    </dgm:pt>
    <dgm:pt modelId="{441A739E-3219-414F-B56E-E44D6026B38F}" type="pres">
      <dgm:prSet presAssocID="{34306B6A-7CF5-45CC-A798-AFC2363D0C10}" presName="vertFour" presStyleCnt="0">
        <dgm:presLayoutVars>
          <dgm:chPref val="3"/>
        </dgm:presLayoutVars>
      </dgm:prSet>
      <dgm:spPr/>
    </dgm:pt>
    <dgm:pt modelId="{79BB7786-005E-48A1-B65A-8AB6338DB0C1}" type="pres">
      <dgm:prSet presAssocID="{34306B6A-7CF5-45CC-A798-AFC2363D0C10}" presName="txFour" presStyleLbl="node4" presStyleIdx="2" presStyleCnt="5">
        <dgm:presLayoutVars>
          <dgm:chPref val="3"/>
        </dgm:presLayoutVars>
      </dgm:prSet>
      <dgm:spPr/>
    </dgm:pt>
    <dgm:pt modelId="{86777A81-3506-4920-A1ED-B6F73A966C69}" type="pres">
      <dgm:prSet presAssocID="{34306B6A-7CF5-45CC-A798-AFC2363D0C10}" presName="parTransFour" presStyleCnt="0"/>
      <dgm:spPr/>
    </dgm:pt>
    <dgm:pt modelId="{C04BF62F-6F8D-4C96-B32E-39C363A11A0F}" type="pres">
      <dgm:prSet presAssocID="{34306B6A-7CF5-45CC-A798-AFC2363D0C10}" presName="horzFour" presStyleCnt="0"/>
      <dgm:spPr/>
    </dgm:pt>
    <dgm:pt modelId="{9277FE82-657C-42E9-A407-5EF9B50F5361}" type="pres">
      <dgm:prSet presAssocID="{1F0BDBA9-99CF-4BCB-8E9B-2109975ECDB8}" presName="vertFour" presStyleCnt="0">
        <dgm:presLayoutVars>
          <dgm:chPref val="3"/>
        </dgm:presLayoutVars>
      </dgm:prSet>
      <dgm:spPr/>
    </dgm:pt>
    <dgm:pt modelId="{53987E47-B92C-42A6-9C02-78585B4A9C93}" type="pres">
      <dgm:prSet presAssocID="{1F0BDBA9-99CF-4BCB-8E9B-2109975ECDB8}" presName="txFour" presStyleLbl="node4" presStyleIdx="3" presStyleCnt="5">
        <dgm:presLayoutVars>
          <dgm:chPref val="3"/>
        </dgm:presLayoutVars>
      </dgm:prSet>
      <dgm:spPr/>
    </dgm:pt>
    <dgm:pt modelId="{D3ABF014-E17B-4DCA-B7D8-E86531C5A847}" type="pres">
      <dgm:prSet presAssocID="{1F0BDBA9-99CF-4BCB-8E9B-2109975ECDB8}" presName="parTransFour" presStyleCnt="0"/>
      <dgm:spPr/>
    </dgm:pt>
    <dgm:pt modelId="{1010862F-B9F6-4891-98ED-5A854ABE73AC}" type="pres">
      <dgm:prSet presAssocID="{1F0BDBA9-99CF-4BCB-8E9B-2109975ECDB8}" presName="horzFour" presStyleCnt="0"/>
      <dgm:spPr/>
    </dgm:pt>
    <dgm:pt modelId="{C6455D91-BF03-4194-AA61-B14725FF98B8}" type="pres">
      <dgm:prSet presAssocID="{E1DE0408-74B4-40E8-AEFC-C5153225AF63}" presName="vertFour" presStyleCnt="0">
        <dgm:presLayoutVars>
          <dgm:chPref val="3"/>
        </dgm:presLayoutVars>
      </dgm:prSet>
      <dgm:spPr/>
    </dgm:pt>
    <dgm:pt modelId="{DB13E5F7-9740-4C27-8FB1-678B916C7D72}" type="pres">
      <dgm:prSet presAssocID="{E1DE0408-74B4-40E8-AEFC-C5153225AF63}" presName="txFour" presStyleLbl="node4" presStyleIdx="4" presStyleCnt="5">
        <dgm:presLayoutVars>
          <dgm:chPref val="3"/>
        </dgm:presLayoutVars>
      </dgm:prSet>
      <dgm:spPr/>
    </dgm:pt>
    <dgm:pt modelId="{0D4A68DB-6231-452B-9C4E-FFA19E700A70}" type="pres">
      <dgm:prSet presAssocID="{E1DE0408-74B4-40E8-AEFC-C5153225AF63}" presName="horzFour" presStyleCnt="0"/>
      <dgm:spPr/>
    </dgm:pt>
  </dgm:ptLst>
  <dgm:cxnLst>
    <dgm:cxn modelId="{0F9BDE64-3D31-4981-962D-10924693F5FA}" srcId="{1F0BDBA9-99CF-4BCB-8E9B-2109975ECDB8}" destId="{E1DE0408-74B4-40E8-AEFC-C5153225AF63}" srcOrd="0" destOrd="0" parTransId="{E6156AE4-883F-4348-A053-99B986C88AEA}" sibTransId="{BF461806-9AFE-4231-9BC6-45D5146D9FC5}"/>
    <dgm:cxn modelId="{70FA4859-6F15-4BFC-86D2-817F694851E0}" type="presOf" srcId="{E6CDBFDE-1413-4FA6-A90A-5283143D2CBC}" destId="{DA5331A6-DCEB-4751-9FEF-75DF76ED7A9F}" srcOrd="0" destOrd="0" presId="urn:microsoft.com/office/officeart/2005/8/layout/hierarchy4"/>
    <dgm:cxn modelId="{591EB48D-17E4-4F19-BCD8-908751CAA354}" srcId="{F2839EC6-C55D-4A6F-B2B9-9A2E48B4EDDE}" destId="{28C121CB-61A3-44A8-A03B-059147D295F8}" srcOrd="0" destOrd="0" parTransId="{2FAEA671-3F8B-41E9-B4E5-1B2DE35B043C}" sibTransId="{92C01530-020E-4DB0-96C9-F02B4A8BE28C}"/>
    <dgm:cxn modelId="{57A8B29B-E130-4159-898B-3C2BBDDBF13F}" srcId="{3B856125-B30D-4676-AD97-B372E4E2A430}" destId="{34306B6A-7CF5-45CC-A798-AFC2363D0C10}" srcOrd="0" destOrd="0" parTransId="{5D01642D-544A-4BA8-8B38-01801FF44243}" sibTransId="{28D9B45F-34F4-424B-9401-E577C137F134}"/>
    <dgm:cxn modelId="{B6CDCB9B-C812-4FBA-BB63-5A49530C7EA7}" srcId="{34306B6A-7CF5-45CC-A798-AFC2363D0C10}" destId="{1F0BDBA9-99CF-4BCB-8E9B-2109975ECDB8}" srcOrd="0" destOrd="0" parTransId="{883F3FFA-D957-462D-B754-B7986961ED70}" sibTransId="{785AF9C2-5113-419E-A98F-E64F52D15A9C}"/>
    <dgm:cxn modelId="{8C6083AC-552C-4A6F-B2F5-95958CF8BFF1}" type="presOf" srcId="{34306B6A-7CF5-45CC-A798-AFC2363D0C10}" destId="{79BB7786-005E-48A1-B65A-8AB6338DB0C1}" srcOrd="0" destOrd="0" presId="urn:microsoft.com/office/officeart/2005/8/layout/hierarchy4"/>
    <dgm:cxn modelId="{33622BB3-BB62-424C-9FEF-A0DB332F7F0E}" srcId="{28C121CB-61A3-44A8-A03B-059147D295F8}" destId="{3B856125-B30D-4676-AD97-B372E4E2A430}" srcOrd="0" destOrd="0" parTransId="{89B03534-B7EE-4639-9BCD-68D308A8E9D3}" sibTransId="{AF7E721E-1697-46D5-8638-DB829CC07813}"/>
    <dgm:cxn modelId="{CCE77DB9-29FD-4888-B644-BD4C4B49073D}" type="presOf" srcId="{1F0BDBA9-99CF-4BCB-8E9B-2109975ECDB8}" destId="{53987E47-B92C-42A6-9C02-78585B4A9C93}" srcOrd="0" destOrd="0" presId="urn:microsoft.com/office/officeart/2005/8/layout/hierarchy4"/>
    <dgm:cxn modelId="{8D986FBB-F430-492B-BF9B-549B05AC9831}" srcId="{E6CDBFDE-1413-4FA6-A90A-5283143D2CBC}" destId="{F2839EC6-C55D-4A6F-B2B9-9A2E48B4EDDE}" srcOrd="0" destOrd="0" parTransId="{6AC9AAB9-9361-48A1-9199-AC9FAF6B7ECF}" sibTransId="{8EB9D79A-91AC-49EC-A6BB-327621C2BE18}"/>
    <dgm:cxn modelId="{7DF329C3-9CAD-4096-8314-D64D3D8D9BE3}" type="presOf" srcId="{28C121CB-61A3-44A8-A03B-059147D295F8}" destId="{647B045C-CD47-4538-81BC-D81BFCCBCFA5}" srcOrd="0" destOrd="0" presId="urn:microsoft.com/office/officeart/2005/8/layout/hierarchy4"/>
    <dgm:cxn modelId="{22CAFEC5-AFDE-437C-85CB-E4D6A274C165}" type="presOf" srcId="{92468619-2E5C-4DA3-829A-1EAD77976778}" destId="{182C0FBA-54B2-4EF1-8CE9-B52D99A4789F}" srcOrd="0" destOrd="0" presId="urn:microsoft.com/office/officeart/2005/8/layout/hierarchy4"/>
    <dgm:cxn modelId="{66C4A0CF-5CB1-4FFF-BEB1-A31541707659}" type="presOf" srcId="{F2839EC6-C55D-4A6F-B2B9-9A2E48B4EDDE}" destId="{9C928FEA-A4AC-4FC9-AF72-80429CE4D843}" srcOrd="0" destOrd="0" presId="urn:microsoft.com/office/officeart/2005/8/layout/hierarchy4"/>
    <dgm:cxn modelId="{D1E972DA-E576-4C9B-B65C-3B2895F98624}" srcId="{EAB54FB5-3F88-4B1C-A443-DB8754C7069B}" destId="{E6CDBFDE-1413-4FA6-A90A-5283143D2CBC}" srcOrd="0" destOrd="0" parTransId="{16F19077-AB2F-4844-94D0-D5A14A246BC2}" sibTransId="{29063DED-FBFC-4BC2-A969-2DED538D436F}"/>
    <dgm:cxn modelId="{9626D4DC-40E5-436B-9026-2F2D24C0B2DD}" type="presOf" srcId="{EAB54FB5-3F88-4B1C-A443-DB8754C7069B}" destId="{B7B08494-735B-466A-842D-DF9BFA3521AD}" srcOrd="0" destOrd="0" presId="urn:microsoft.com/office/officeart/2005/8/layout/hierarchy4"/>
    <dgm:cxn modelId="{8E068EDF-008D-4DFC-8F09-8E4BB4F61873}" type="presOf" srcId="{E1DE0408-74B4-40E8-AEFC-C5153225AF63}" destId="{DB13E5F7-9740-4C27-8FB1-678B916C7D72}" srcOrd="0" destOrd="0" presId="urn:microsoft.com/office/officeart/2005/8/layout/hierarchy4"/>
    <dgm:cxn modelId="{8F67CAEA-C5C1-4376-8F00-B11A7FE1AC81}" type="presOf" srcId="{3B856125-B30D-4676-AD97-B372E4E2A430}" destId="{3F02C9F8-EA49-475A-BF24-2EA59E4BC0FE}" srcOrd="0" destOrd="0" presId="urn:microsoft.com/office/officeart/2005/8/layout/hierarchy4"/>
    <dgm:cxn modelId="{9BBC22EB-4173-4554-9546-E0DBE0450174}" srcId="{92468619-2E5C-4DA3-829A-1EAD77976778}" destId="{EAB54FB5-3F88-4B1C-A443-DB8754C7069B}" srcOrd="0" destOrd="0" parTransId="{E187249D-03A8-4597-84F3-251B45777F3D}" sibTransId="{B5A1C2DB-75F6-450B-987F-158CC25B82B8}"/>
    <dgm:cxn modelId="{851630E0-19E8-46B8-843C-BB4205396942}" type="presParOf" srcId="{182C0FBA-54B2-4EF1-8CE9-B52D99A4789F}" destId="{426F1780-A010-475B-8DFD-90DC2E295084}" srcOrd="0" destOrd="0" presId="urn:microsoft.com/office/officeart/2005/8/layout/hierarchy4"/>
    <dgm:cxn modelId="{C65A5358-89EE-42A3-BD4B-28BF7D52AF78}" type="presParOf" srcId="{426F1780-A010-475B-8DFD-90DC2E295084}" destId="{B7B08494-735B-466A-842D-DF9BFA3521AD}" srcOrd="0" destOrd="0" presId="urn:microsoft.com/office/officeart/2005/8/layout/hierarchy4"/>
    <dgm:cxn modelId="{A571A9AF-1CDD-4DF2-847D-082B437A305D}" type="presParOf" srcId="{426F1780-A010-475B-8DFD-90DC2E295084}" destId="{2CEE4DF6-1130-4161-B0AF-AD5BE5420ADF}" srcOrd="1" destOrd="0" presId="urn:microsoft.com/office/officeart/2005/8/layout/hierarchy4"/>
    <dgm:cxn modelId="{F05B3A0D-1DEC-4A90-8F42-07E1ABD8FE39}" type="presParOf" srcId="{426F1780-A010-475B-8DFD-90DC2E295084}" destId="{C4C63BA3-D7D8-473B-87A6-AA919FAA0EAA}" srcOrd="2" destOrd="0" presId="urn:microsoft.com/office/officeart/2005/8/layout/hierarchy4"/>
    <dgm:cxn modelId="{5F4E31D3-45DC-476D-933D-06ECA3DFE47A}" type="presParOf" srcId="{C4C63BA3-D7D8-473B-87A6-AA919FAA0EAA}" destId="{B3D79993-1C78-40DD-9178-D003FEA2C14D}" srcOrd="0" destOrd="0" presId="urn:microsoft.com/office/officeart/2005/8/layout/hierarchy4"/>
    <dgm:cxn modelId="{BF9427C5-6E9A-418D-AE16-8B2A096A7152}" type="presParOf" srcId="{B3D79993-1C78-40DD-9178-D003FEA2C14D}" destId="{DA5331A6-DCEB-4751-9FEF-75DF76ED7A9F}" srcOrd="0" destOrd="0" presId="urn:microsoft.com/office/officeart/2005/8/layout/hierarchy4"/>
    <dgm:cxn modelId="{8A00A50E-7EBB-4127-B992-12A5BF5C7572}" type="presParOf" srcId="{B3D79993-1C78-40DD-9178-D003FEA2C14D}" destId="{6B14AFE1-A6E8-4997-93B5-EF1A0C25A7E3}" srcOrd="1" destOrd="0" presId="urn:microsoft.com/office/officeart/2005/8/layout/hierarchy4"/>
    <dgm:cxn modelId="{1ADB8925-DD4D-4A21-BE7A-C616EC9B7E18}" type="presParOf" srcId="{B3D79993-1C78-40DD-9178-D003FEA2C14D}" destId="{5E1C0694-BE26-4D6F-AD05-931FC983A477}" srcOrd="2" destOrd="0" presId="urn:microsoft.com/office/officeart/2005/8/layout/hierarchy4"/>
    <dgm:cxn modelId="{05CCFED7-D0B8-4C07-8CC4-74143A337C6F}" type="presParOf" srcId="{5E1C0694-BE26-4D6F-AD05-931FC983A477}" destId="{2974AD5F-7187-4ED5-BE92-BA5C6473500A}" srcOrd="0" destOrd="0" presId="urn:microsoft.com/office/officeart/2005/8/layout/hierarchy4"/>
    <dgm:cxn modelId="{3BE62DA6-3328-4E40-B9A0-67D2CAF49B66}" type="presParOf" srcId="{2974AD5F-7187-4ED5-BE92-BA5C6473500A}" destId="{9C928FEA-A4AC-4FC9-AF72-80429CE4D843}" srcOrd="0" destOrd="0" presId="urn:microsoft.com/office/officeart/2005/8/layout/hierarchy4"/>
    <dgm:cxn modelId="{77E55604-C8F4-4DC2-9571-BA4A84C171AD}" type="presParOf" srcId="{2974AD5F-7187-4ED5-BE92-BA5C6473500A}" destId="{4CF5AE16-6EE8-4783-AB3B-CDA50B2989BD}" srcOrd="1" destOrd="0" presId="urn:microsoft.com/office/officeart/2005/8/layout/hierarchy4"/>
    <dgm:cxn modelId="{A6BA5D7F-607D-4DB3-A39C-E7FB92929EE3}" type="presParOf" srcId="{2974AD5F-7187-4ED5-BE92-BA5C6473500A}" destId="{9A40DA42-EF12-4635-96EC-B20174122A15}" srcOrd="2" destOrd="0" presId="urn:microsoft.com/office/officeart/2005/8/layout/hierarchy4"/>
    <dgm:cxn modelId="{B9CC544F-EA13-4BE5-B883-1BC99B22F926}" type="presParOf" srcId="{9A40DA42-EF12-4635-96EC-B20174122A15}" destId="{ECECCE20-B42C-45C5-A935-33C4D8434623}" srcOrd="0" destOrd="0" presId="urn:microsoft.com/office/officeart/2005/8/layout/hierarchy4"/>
    <dgm:cxn modelId="{7D545FB0-ED7E-40D9-A450-270BC472E097}" type="presParOf" srcId="{ECECCE20-B42C-45C5-A935-33C4D8434623}" destId="{647B045C-CD47-4538-81BC-D81BFCCBCFA5}" srcOrd="0" destOrd="0" presId="urn:microsoft.com/office/officeart/2005/8/layout/hierarchy4"/>
    <dgm:cxn modelId="{3DD97A6D-BFF6-468B-9394-92F0DB28AD80}" type="presParOf" srcId="{ECECCE20-B42C-45C5-A935-33C4D8434623}" destId="{B2572BA5-3759-488F-84E8-E93D30241118}" srcOrd="1" destOrd="0" presId="urn:microsoft.com/office/officeart/2005/8/layout/hierarchy4"/>
    <dgm:cxn modelId="{CCAC5A03-6072-412D-ABA6-CF803F18DA27}" type="presParOf" srcId="{ECECCE20-B42C-45C5-A935-33C4D8434623}" destId="{BDBEE72C-9AF8-4628-9C68-0D2D10EE4B9B}" srcOrd="2" destOrd="0" presId="urn:microsoft.com/office/officeart/2005/8/layout/hierarchy4"/>
    <dgm:cxn modelId="{946EC395-CEBC-4D6C-A8E5-5655169668B8}" type="presParOf" srcId="{BDBEE72C-9AF8-4628-9C68-0D2D10EE4B9B}" destId="{FD2E592D-A19E-4E57-B053-50DB87FAE8DA}" srcOrd="0" destOrd="0" presId="urn:microsoft.com/office/officeart/2005/8/layout/hierarchy4"/>
    <dgm:cxn modelId="{3CE8413F-F980-4C20-8C4B-9B160DED8D29}" type="presParOf" srcId="{FD2E592D-A19E-4E57-B053-50DB87FAE8DA}" destId="{3F02C9F8-EA49-475A-BF24-2EA59E4BC0FE}" srcOrd="0" destOrd="0" presId="urn:microsoft.com/office/officeart/2005/8/layout/hierarchy4"/>
    <dgm:cxn modelId="{84DB88B4-E878-4662-AA0D-2A8F5E48A0F7}" type="presParOf" srcId="{FD2E592D-A19E-4E57-B053-50DB87FAE8DA}" destId="{410EEE90-4FDF-4A2E-8621-6744A7B205E7}" srcOrd="1" destOrd="0" presId="urn:microsoft.com/office/officeart/2005/8/layout/hierarchy4"/>
    <dgm:cxn modelId="{592DCBBA-81A7-461A-A556-EE9279C4BFF7}" type="presParOf" srcId="{FD2E592D-A19E-4E57-B053-50DB87FAE8DA}" destId="{A48CAFA1-61F8-4FD5-B56B-DE8349EC3968}" srcOrd="2" destOrd="0" presId="urn:microsoft.com/office/officeart/2005/8/layout/hierarchy4"/>
    <dgm:cxn modelId="{D72BF108-35B2-41DC-932B-AC8721E68197}" type="presParOf" srcId="{A48CAFA1-61F8-4FD5-B56B-DE8349EC3968}" destId="{441A739E-3219-414F-B56E-E44D6026B38F}" srcOrd="0" destOrd="0" presId="urn:microsoft.com/office/officeart/2005/8/layout/hierarchy4"/>
    <dgm:cxn modelId="{F05C291C-9658-4C66-9F7D-48F90B4C6D5B}" type="presParOf" srcId="{441A739E-3219-414F-B56E-E44D6026B38F}" destId="{79BB7786-005E-48A1-B65A-8AB6338DB0C1}" srcOrd="0" destOrd="0" presId="urn:microsoft.com/office/officeart/2005/8/layout/hierarchy4"/>
    <dgm:cxn modelId="{2C2BE1F6-7450-44A8-9BF8-49B4BDE3E85F}" type="presParOf" srcId="{441A739E-3219-414F-B56E-E44D6026B38F}" destId="{86777A81-3506-4920-A1ED-B6F73A966C69}" srcOrd="1" destOrd="0" presId="urn:microsoft.com/office/officeart/2005/8/layout/hierarchy4"/>
    <dgm:cxn modelId="{9F6AF68E-6BCE-4E00-B0D5-EA74AC2CADC5}" type="presParOf" srcId="{441A739E-3219-414F-B56E-E44D6026B38F}" destId="{C04BF62F-6F8D-4C96-B32E-39C363A11A0F}" srcOrd="2" destOrd="0" presId="urn:microsoft.com/office/officeart/2005/8/layout/hierarchy4"/>
    <dgm:cxn modelId="{3F1C073B-470F-4AED-BB52-66FEF4427DB7}" type="presParOf" srcId="{C04BF62F-6F8D-4C96-B32E-39C363A11A0F}" destId="{9277FE82-657C-42E9-A407-5EF9B50F5361}" srcOrd="0" destOrd="0" presId="urn:microsoft.com/office/officeart/2005/8/layout/hierarchy4"/>
    <dgm:cxn modelId="{BBD9268F-FB37-4D1C-A29F-C3655C5B060C}" type="presParOf" srcId="{9277FE82-657C-42E9-A407-5EF9B50F5361}" destId="{53987E47-B92C-42A6-9C02-78585B4A9C93}" srcOrd="0" destOrd="0" presId="urn:microsoft.com/office/officeart/2005/8/layout/hierarchy4"/>
    <dgm:cxn modelId="{482A9D66-8142-4C51-B5D1-76285FE18D96}" type="presParOf" srcId="{9277FE82-657C-42E9-A407-5EF9B50F5361}" destId="{D3ABF014-E17B-4DCA-B7D8-E86531C5A847}" srcOrd="1" destOrd="0" presId="urn:microsoft.com/office/officeart/2005/8/layout/hierarchy4"/>
    <dgm:cxn modelId="{7779E21C-3D89-4E87-AC39-EBDA6A7E5E34}" type="presParOf" srcId="{9277FE82-657C-42E9-A407-5EF9B50F5361}" destId="{1010862F-B9F6-4891-98ED-5A854ABE73AC}" srcOrd="2" destOrd="0" presId="urn:microsoft.com/office/officeart/2005/8/layout/hierarchy4"/>
    <dgm:cxn modelId="{83B4AA8B-D4A8-4B0E-B646-64AA61807CC7}" type="presParOf" srcId="{1010862F-B9F6-4891-98ED-5A854ABE73AC}" destId="{C6455D91-BF03-4194-AA61-B14725FF98B8}" srcOrd="0" destOrd="0" presId="urn:microsoft.com/office/officeart/2005/8/layout/hierarchy4"/>
    <dgm:cxn modelId="{018A1A9A-5FA9-42AF-B851-D73DF5709D95}" type="presParOf" srcId="{C6455D91-BF03-4194-AA61-B14725FF98B8}" destId="{DB13E5F7-9740-4C27-8FB1-678B916C7D72}" srcOrd="0" destOrd="0" presId="urn:microsoft.com/office/officeart/2005/8/layout/hierarchy4"/>
    <dgm:cxn modelId="{9CFAEB38-CF7F-4466-8409-87A8233360F1}" type="presParOf" srcId="{C6455D91-BF03-4194-AA61-B14725FF98B8}" destId="{0D4A68DB-6231-452B-9C4E-FFA19E700A7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2468619-2E5C-4DA3-829A-1EAD77976778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AB54FB5-3F88-4B1C-A443-DB8754C7069B}">
      <dgm:prSet phldrT="[Text]" custT="1"/>
      <dgm:spPr>
        <a:solidFill>
          <a:srgbClr val="243782"/>
        </a:solidFill>
      </dgm:spPr>
      <dgm:t>
        <a:bodyPr/>
        <a:lstStyle/>
        <a:p>
          <a:r>
            <a:rPr lang="en-US" sz="1800" b="1">
              <a:latin typeface="Arial (Headings)"/>
            </a:rPr>
            <a:t>Check</a:t>
          </a:r>
        </a:p>
      </dgm:t>
    </dgm:pt>
    <dgm:pt modelId="{E187249D-03A8-4597-84F3-251B45777F3D}" type="parTrans" cxnId="{9BBC22EB-4173-4554-9546-E0DBE0450174}">
      <dgm:prSet/>
      <dgm:spPr/>
      <dgm:t>
        <a:bodyPr/>
        <a:lstStyle/>
        <a:p>
          <a:endParaRPr lang="en-US"/>
        </a:p>
      </dgm:t>
    </dgm:pt>
    <dgm:pt modelId="{B5A1C2DB-75F6-450B-987F-158CC25B82B8}" type="sibTrans" cxnId="{9BBC22EB-4173-4554-9546-E0DBE0450174}">
      <dgm:prSet/>
      <dgm:spPr/>
      <dgm:t>
        <a:bodyPr/>
        <a:lstStyle/>
        <a:p>
          <a:endParaRPr lang="en-US"/>
        </a:p>
      </dgm:t>
    </dgm:pt>
    <dgm:pt modelId="{F2839EC6-C55D-4A6F-B2B9-9A2E48B4EDDE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AC9AAB9-9361-48A1-9199-AC9FAF6B7ECF}" type="parTrans" cxnId="{8D986FBB-F430-492B-BF9B-549B05AC9831}">
      <dgm:prSet/>
      <dgm:spPr/>
      <dgm:t>
        <a:bodyPr/>
        <a:lstStyle/>
        <a:p>
          <a:endParaRPr lang="en-US"/>
        </a:p>
      </dgm:t>
    </dgm:pt>
    <dgm:pt modelId="{8EB9D79A-91AC-49EC-A6BB-327621C2BE18}" type="sibTrans" cxnId="{8D986FBB-F430-492B-BF9B-549B05AC9831}">
      <dgm:prSet/>
      <dgm:spPr/>
      <dgm:t>
        <a:bodyPr/>
        <a:lstStyle/>
        <a:p>
          <a:endParaRPr lang="en-US"/>
        </a:p>
      </dgm:t>
    </dgm:pt>
    <dgm:pt modelId="{6B6CD9C5-3FE4-43B6-8F6B-E9542E5E69EA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4F4269A-422B-4A5E-9282-C68201E64B2D}" type="parTrans" cxnId="{27C2EE58-DCA2-4069-BBC7-4146C98AB001}">
      <dgm:prSet/>
      <dgm:spPr/>
      <dgm:t>
        <a:bodyPr/>
        <a:lstStyle/>
        <a:p>
          <a:endParaRPr lang="en-US"/>
        </a:p>
      </dgm:t>
    </dgm:pt>
    <dgm:pt modelId="{862EA37B-8951-4C5A-8F81-22F867CCC2CD}" type="sibTrans" cxnId="{27C2EE58-DCA2-4069-BBC7-4146C98AB001}">
      <dgm:prSet/>
      <dgm:spPr/>
      <dgm:t>
        <a:bodyPr/>
        <a:lstStyle/>
        <a:p>
          <a:endParaRPr lang="en-US"/>
        </a:p>
      </dgm:t>
    </dgm:pt>
    <dgm:pt modelId="{835BF481-208F-4897-88F6-A647D3EDF68B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6450BB0-1593-486E-81C2-12C4F5B93832}" type="parTrans" cxnId="{52285425-C76B-4A17-B0CA-445E2BE8C3FF}">
      <dgm:prSet/>
      <dgm:spPr/>
      <dgm:t>
        <a:bodyPr/>
        <a:lstStyle/>
        <a:p>
          <a:endParaRPr lang="en-US"/>
        </a:p>
      </dgm:t>
    </dgm:pt>
    <dgm:pt modelId="{CC181DBD-9233-4E41-9171-0EEA0B3E0DD4}" type="sibTrans" cxnId="{52285425-C76B-4A17-B0CA-445E2BE8C3FF}">
      <dgm:prSet/>
      <dgm:spPr/>
      <dgm:t>
        <a:bodyPr/>
        <a:lstStyle/>
        <a:p>
          <a:endParaRPr lang="en-US"/>
        </a:p>
      </dgm:t>
    </dgm:pt>
    <dgm:pt modelId="{7A86F8B8-22CD-4E1A-852B-4762696A480E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9C9B300-7934-40D3-8FF3-90469B48F791}" type="parTrans" cxnId="{A6EEE87A-EAE3-4E11-8E7C-3CC12F384BF5}">
      <dgm:prSet/>
      <dgm:spPr/>
      <dgm:t>
        <a:bodyPr/>
        <a:lstStyle/>
        <a:p>
          <a:endParaRPr lang="en-US"/>
        </a:p>
      </dgm:t>
    </dgm:pt>
    <dgm:pt modelId="{E946ACE4-6F65-4397-9A66-60A4522B54B5}" type="sibTrans" cxnId="{A6EEE87A-EAE3-4E11-8E7C-3CC12F384BF5}">
      <dgm:prSet/>
      <dgm:spPr/>
      <dgm:t>
        <a:bodyPr/>
        <a:lstStyle/>
        <a:p>
          <a:endParaRPr lang="en-US"/>
        </a:p>
      </dgm:t>
    </dgm:pt>
    <dgm:pt modelId="{3598FDAC-DA07-42E4-AF69-872B801454DC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7E81BA4-6469-4DE2-B4FA-8E773DA836E8}" type="parTrans" cxnId="{CF723F31-8DDC-4A04-A268-D7C5E8D7CAC1}">
      <dgm:prSet/>
      <dgm:spPr/>
      <dgm:t>
        <a:bodyPr/>
        <a:lstStyle/>
        <a:p>
          <a:endParaRPr lang="en-US"/>
        </a:p>
      </dgm:t>
    </dgm:pt>
    <dgm:pt modelId="{F95CEA24-564D-428B-890F-8105B274458F}" type="sibTrans" cxnId="{CF723F31-8DDC-4A04-A268-D7C5E8D7CAC1}">
      <dgm:prSet/>
      <dgm:spPr/>
      <dgm:t>
        <a:bodyPr/>
        <a:lstStyle/>
        <a:p>
          <a:endParaRPr lang="en-US"/>
        </a:p>
      </dgm:t>
    </dgm:pt>
    <dgm:pt modelId="{3D811E13-BCA8-410B-92A6-A7A1B0AE79EB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2F6BC5-7043-48F8-B19F-8C5B8CE9BBB0}" type="parTrans" cxnId="{69F788A1-6501-43D2-91BC-81E365D0DB94}">
      <dgm:prSet/>
      <dgm:spPr/>
      <dgm:t>
        <a:bodyPr/>
        <a:lstStyle/>
        <a:p>
          <a:endParaRPr lang="en-US"/>
        </a:p>
      </dgm:t>
    </dgm:pt>
    <dgm:pt modelId="{D0BE0103-0560-480F-9F6A-9356D2942FF7}" type="sibTrans" cxnId="{69F788A1-6501-43D2-91BC-81E365D0DB94}">
      <dgm:prSet/>
      <dgm:spPr/>
      <dgm:t>
        <a:bodyPr/>
        <a:lstStyle/>
        <a:p>
          <a:endParaRPr lang="en-US"/>
        </a:p>
      </dgm:t>
    </dgm:pt>
    <dgm:pt modelId="{065FC31B-79FB-4CBF-954C-A2FBDD64388D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3F21A6-BACC-4F39-B684-7AA4701E7340}" type="parTrans" cxnId="{26B23D54-3527-41F4-8300-10B99C0DC910}">
      <dgm:prSet/>
      <dgm:spPr/>
      <dgm:t>
        <a:bodyPr/>
        <a:lstStyle/>
        <a:p>
          <a:endParaRPr lang="en-US"/>
        </a:p>
      </dgm:t>
    </dgm:pt>
    <dgm:pt modelId="{388C5DC4-44BB-4651-A3DC-BFCC09CB0BF5}" type="sibTrans" cxnId="{26B23D54-3527-41F4-8300-10B99C0DC910}">
      <dgm:prSet/>
      <dgm:spPr/>
      <dgm:t>
        <a:bodyPr/>
        <a:lstStyle/>
        <a:p>
          <a:endParaRPr lang="en-US"/>
        </a:p>
      </dgm:t>
    </dgm:pt>
    <dgm:pt modelId="{182C0FBA-54B2-4EF1-8CE9-B52D99A4789F}" type="pres">
      <dgm:prSet presAssocID="{92468619-2E5C-4DA3-829A-1EAD77976778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26F1780-A010-475B-8DFD-90DC2E295084}" type="pres">
      <dgm:prSet presAssocID="{EAB54FB5-3F88-4B1C-A443-DB8754C7069B}" presName="vertOne" presStyleCnt="0"/>
      <dgm:spPr/>
    </dgm:pt>
    <dgm:pt modelId="{B7B08494-735B-466A-842D-DF9BFA3521AD}" type="pres">
      <dgm:prSet presAssocID="{EAB54FB5-3F88-4B1C-A443-DB8754C7069B}" presName="txOne" presStyleLbl="node0" presStyleIdx="0" presStyleCnt="1">
        <dgm:presLayoutVars>
          <dgm:chPref val="3"/>
        </dgm:presLayoutVars>
      </dgm:prSet>
      <dgm:spPr/>
    </dgm:pt>
    <dgm:pt modelId="{6231D267-F8F5-4793-8E94-DD239FA3ECB1}" type="pres">
      <dgm:prSet presAssocID="{EAB54FB5-3F88-4B1C-A443-DB8754C7069B}" presName="parTransOne" presStyleCnt="0"/>
      <dgm:spPr/>
    </dgm:pt>
    <dgm:pt modelId="{C4C63BA3-D7D8-473B-87A6-AA919FAA0EAA}" type="pres">
      <dgm:prSet presAssocID="{EAB54FB5-3F88-4B1C-A443-DB8754C7069B}" presName="horzOne" presStyleCnt="0"/>
      <dgm:spPr/>
    </dgm:pt>
    <dgm:pt modelId="{55FB29BB-41D0-49AC-B299-EC8ADF253820}" type="pres">
      <dgm:prSet presAssocID="{835BF481-208F-4897-88F6-A647D3EDF68B}" presName="vertTwo" presStyleCnt="0"/>
      <dgm:spPr/>
    </dgm:pt>
    <dgm:pt modelId="{ABD9DF18-2ABF-45AA-B7C8-1B3DEF1CB756}" type="pres">
      <dgm:prSet presAssocID="{835BF481-208F-4897-88F6-A647D3EDF68B}" presName="txTwo" presStyleLbl="node2" presStyleIdx="0" presStyleCnt="1">
        <dgm:presLayoutVars>
          <dgm:chPref val="3"/>
        </dgm:presLayoutVars>
      </dgm:prSet>
      <dgm:spPr/>
    </dgm:pt>
    <dgm:pt modelId="{FB2D0E62-E63F-4AF8-83A5-34D3202DD013}" type="pres">
      <dgm:prSet presAssocID="{835BF481-208F-4897-88F6-A647D3EDF68B}" presName="parTransTwo" presStyleCnt="0"/>
      <dgm:spPr/>
    </dgm:pt>
    <dgm:pt modelId="{2DBE0F55-EA2A-4D94-82F1-AC1B1414D417}" type="pres">
      <dgm:prSet presAssocID="{835BF481-208F-4897-88F6-A647D3EDF68B}" presName="horzTwo" presStyleCnt="0"/>
      <dgm:spPr/>
    </dgm:pt>
    <dgm:pt modelId="{429C0D6C-93CB-4D3E-81BD-C49D236C8E04}" type="pres">
      <dgm:prSet presAssocID="{6B6CD9C5-3FE4-43B6-8F6B-E9542E5E69EA}" presName="vertThree" presStyleCnt="0"/>
      <dgm:spPr/>
    </dgm:pt>
    <dgm:pt modelId="{4C603DB0-E501-417F-9308-54BEB419FCB9}" type="pres">
      <dgm:prSet presAssocID="{6B6CD9C5-3FE4-43B6-8F6B-E9542E5E69EA}" presName="txThree" presStyleLbl="node3" presStyleIdx="0" presStyleCnt="1">
        <dgm:presLayoutVars>
          <dgm:chPref val="3"/>
        </dgm:presLayoutVars>
      </dgm:prSet>
      <dgm:spPr/>
    </dgm:pt>
    <dgm:pt modelId="{924A6312-5500-43C0-801E-F204F1AC4388}" type="pres">
      <dgm:prSet presAssocID="{6B6CD9C5-3FE4-43B6-8F6B-E9542E5E69EA}" presName="parTransThree" presStyleCnt="0"/>
      <dgm:spPr/>
    </dgm:pt>
    <dgm:pt modelId="{1B7D9600-793E-495C-921F-BBDFC9B912BC}" type="pres">
      <dgm:prSet presAssocID="{6B6CD9C5-3FE4-43B6-8F6B-E9542E5E69EA}" presName="horzThree" presStyleCnt="0"/>
      <dgm:spPr/>
    </dgm:pt>
    <dgm:pt modelId="{65DA8E9A-3B1A-4880-9AA8-5119FA8174AB}" type="pres">
      <dgm:prSet presAssocID="{7A86F8B8-22CD-4E1A-852B-4762696A480E}" presName="vertFour" presStyleCnt="0">
        <dgm:presLayoutVars>
          <dgm:chPref val="3"/>
        </dgm:presLayoutVars>
      </dgm:prSet>
      <dgm:spPr/>
    </dgm:pt>
    <dgm:pt modelId="{9C117668-9D27-4B1B-B835-27EFC59E80D4}" type="pres">
      <dgm:prSet presAssocID="{7A86F8B8-22CD-4E1A-852B-4762696A480E}" presName="txFour" presStyleLbl="node4" presStyleIdx="0" presStyleCnt="5">
        <dgm:presLayoutVars>
          <dgm:chPref val="3"/>
        </dgm:presLayoutVars>
      </dgm:prSet>
      <dgm:spPr/>
    </dgm:pt>
    <dgm:pt modelId="{FC1A92B4-C6A7-444F-B19D-792F793163FA}" type="pres">
      <dgm:prSet presAssocID="{7A86F8B8-22CD-4E1A-852B-4762696A480E}" presName="parTransFour" presStyleCnt="0"/>
      <dgm:spPr/>
    </dgm:pt>
    <dgm:pt modelId="{68B49F92-7E41-4108-8A35-1E041C849D59}" type="pres">
      <dgm:prSet presAssocID="{7A86F8B8-22CD-4E1A-852B-4762696A480E}" presName="horzFour" presStyleCnt="0"/>
      <dgm:spPr/>
    </dgm:pt>
    <dgm:pt modelId="{312C5FA1-C8A6-44CB-921D-04B488ADA52B}" type="pres">
      <dgm:prSet presAssocID="{3598FDAC-DA07-42E4-AF69-872B801454DC}" presName="vertFour" presStyleCnt="0">
        <dgm:presLayoutVars>
          <dgm:chPref val="3"/>
        </dgm:presLayoutVars>
      </dgm:prSet>
      <dgm:spPr/>
    </dgm:pt>
    <dgm:pt modelId="{46E60340-0191-4A17-ADEA-C322584FCF66}" type="pres">
      <dgm:prSet presAssocID="{3598FDAC-DA07-42E4-AF69-872B801454DC}" presName="txFour" presStyleLbl="node4" presStyleIdx="1" presStyleCnt="5">
        <dgm:presLayoutVars>
          <dgm:chPref val="3"/>
        </dgm:presLayoutVars>
      </dgm:prSet>
      <dgm:spPr/>
    </dgm:pt>
    <dgm:pt modelId="{193ADCCB-6D16-45D7-883C-FE74081E174C}" type="pres">
      <dgm:prSet presAssocID="{3598FDAC-DA07-42E4-AF69-872B801454DC}" presName="parTransFour" presStyleCnt="0"/>
      <dgm:spPr/>
    </dgm:pt>
    <dgm:pt modelId="{58111803-AC5D-44DB-81D9-660677BB5487}" type="pres">
      <dgm:prSet presAssocID="{3598FDAC-DA07-42E4-AF69-872B801454DC}" presName="horzFour" presStyleCnt="0"/>
      <dgm:spPr/>
    </dgm:pt>
    <dgm:pt modelId="{F3AF4B5D-C7D2-4014-970F-74B2953156CA}" type="pres">
      <dgm:prSet presAssocID="{3D811E13-BCA8-410B-92A6-A7A1B0AE79EB}" presName="vertFour" presStyleCnt="0">
        <dgm:presLayoutVars>
          <dgm:chPref val="3"/>
        </dgm:presLayoutVars>
      </dgm:prSet>
      <dgm:spPr/>
    </dgm:pt>
    <dgm:pt modelId="{02047D82-4E48-47F9-B3A4-7A4FF64BDE2F}" type="pres">
      <dgm:prSet presAssocID="{3D811E13-BCA8-410B-92A6-A7A1B0AE79EB}" presName="txFour" presStyleLbl="node4" presStyleIdx="2" presStyleCnt="5">
        <dgm:presLayoutVars>
          <dgm:chPref val="3"/>
        </dgm:presLayoutVars>
      </dgm:prSet>
      <dgm:spPr/>
    </dgm:pt>
    <dgm:pt modelId="{752224E4-8EC1-40DA-9F58-FFFE0AA94133}" type="pres">
      <dgm:prSet presAssocID="{3D811E13-BCA8-410B-92A6-A7A1B0AE79EB}" presName="parTransFour" presStyleCnt="0"/>
      <dgm:spPr/>
    </dgm:pt>
    <dgm:pt modelId="{B319EDEE-6D63-4CCF-9482-0CB98798F3B1}" type="pres">
      <dgm:prSet presAssocID="{3D811E13-BCA8-410B-92A6-A7A1B0AE79EB}" presName="horzFour" presStyleCnt="0"/>
      <dgm:spPr/>
    </dgm:pt>
    <dgm:pt modelId="{B43ED0A7-4853-4B4B-A2E5-64CFC550270C}" type="pres">
      <dgm:prSet presAssocID="{065FC31B-79FB-4CBF-954C-A2FBDD64388D}" presName="vertFour" presStyleCnt="0">
        <dgm:presLayoutVars>
          <dgm:chPref val="3"/>
        </dgm:presLayoutVars>
      </dgm:prSet>
      <dgm:spPr/>
    </dgm:pt>
    <dgm:pt modelId="{3F0BB1E3-32B9-48A7-B919-F017CF944891}" type="pres">
      <dgm:prSet presAssocID="{065FC31B-79FB-4CBF-954C-A2FBDD64388D}" presName="txFour" presStyleLbl="node4" presStyleIdx="3" presStyleCnt="5">
        <dgm:presLayoutVars>
          <dgm:chPref val="3"/>
        </dgm:presLayoutVars>
      </dgm:prSet>
      <dgm:spPr/>
    </dgm:pt>
    <dgm:pt modelId="{879E7C66-FBCF-4E88-A293-7E1E63AA5124}" type="pres">
      <dgm:prSet presAssocID="{065FC31B-79FB-4CBF-954C-A2FBDD64388D}" presName="parTransFour" presStyleCnt="0"/>
      <dgm:spPr/>
    </dgm:pt>
    <dgm:pt modelId="{C1C35477-2047-4AD0-978D-CBA1EDF08BAC}" type="pres">
      <dgm:prSet presAssocID="{065FC31B-79FB-4CBF-954C-A2FBDD64388D}" presName="horzFour" presStyleCnt="0"/>
      <dgm:spPr/>
    </dgm:pt>
    <dgm:pt modelId="{7B04C1E1-8BE0-4141-9EE8-2527BDA8EC61}" type="pres">
      <dgm:prSet presAssocID="{F2839EC6-C55D-4A6F-B2B9-9A2E48B4EDDE}" presName="vertFour" presStyleCnt="0">
        <dgm:presLayoutVars>
          <dgm:chPref val="3"/>
        </dgm:presLayoutVars>
      </dgm:prSet>
      <dgm:spPr/>
    </dgm:pt>
    <dgm:pt modelId="{E22D5F6F-EB31-4794-995A-B447CFDFC19C}" type="pres">
      <dgm:prSet presAssocID="{F2839EC6-C55D-4A6F-B2B9-9A2E48B4EDDE}" presName="txFour" presStyleLbl="node4" presStyleIdx="4" presStyleCnt="5">
        <dgm:presLayoutVars>
          <dgm:chPref val="3"/>
        </dgm:presLayoutVars>
      </dgm:prSet>
      <dgm:spPr/>
    </dgm:pt>
    <dgm:pt modelId="{1C5B63B3-331F-4E7A-B79B-0CE2F310CAFE}" type="pres">
      <dgm:prSet presAssocID="{F2839EC6-C55D-4A6F-B2B9-9A2E48B4EDDE}" presName="horzFour" presStyleCnt="0"/>
      <dgm:spPr/>
    </dgm:pt>
  </dgm:ptLst>
  <dgm:cxnLst>
    <dgm:cxn modelId="{41FF9900-DDD1-4816-AC15-202F8D77BA21}" type="presOf" srcId="{065FC31B-79FB-4CBF-954C-A2FBDD64388D}" destId="{3F0BB1E3-32B9-48A7-B919-F017CF944891}" srcOrd="0" destOrd="0" presId="urn:microsoft.com/office/officeart/2005/8/layout/hierarchy4"/>
    <dgm:cxn modelId="{52285425-C76B-4A17-B0CA-445E2BE8C3FF}" srcId="{EAB54FB5-3F88-4B1C-A443-DB8754C7069B}" destId="{835BF481-208F-4897-88F6-A647D3EDF68B}" srcOrd="0" destOrd="0" parTransId="{A6450BB0-1593-486E-81C2-12C4F5B93832}" sibTransId="{CC181DBD-9233-4E41-9171-0EEA0B3E0DD4}"/>
    <dgm:cxn modelId="{CF723F31-8DDC-4A04-A268-D7C5E8D7CAC1}" srcId="{7A86F8B8-22CD-4E1A-852B-4762696A480E}" destId="{3598FDAC-DA07-42E4-AF69-872B801454DC}" srcOrd="0" destOrd="0" parTransId="{27E81BA4-6469-4DE2-B4FA-8E773DA836E8}" sibTransId="{F95CEA24-564D-428B-890F-8105B274458F}"/>
    <dgm:cxn modelId="{26B23D54-3527-41F4-8300-10B99C0DC910}" srcId="{3D811E13-BCA8-410B-92A6-A7A1B0AE79EB}" destId="{065FC31B-79FB-4CBF-954C-A2FBDD64388D}" srcOrd="0" destOrd="0" parTransId="{CE3F21A6-BACC-4F39-B684-7AA4701E7340}" sibTransId="{388C5DC4-44BB-4651-A3DC-BFCC09CB0BF5}"/>
    <dgm:cxn modelId="{27C2EE58-DCA2-4069-BBC7-4146C98AB001}" srcId="{835BF481-208F-4897-88F6-A647D3EDF68B}" destId="{6B6CD9C5-3FE4-43B6-8F6B-E9542E5E69EA}" srcOrd="0" destOrd="0" parTransId="{34F4269A-422B-4A5E-9282-C68201E64B2D}" sibTransId="{862EA37B-8951-4C5A-8F81-22F867CCC2CD}"/>
    <dgm:cxn modelId="{A6EEE87A-EAE3-4E11-8E7C-3CC12F384BF5}" srcId="{6B6CD9C5-3FE4-43B6-8F6B-E9542E5E69EA}" destId="{7A86F8B8-22CD-4E1A-852B-4762696A480E}" srcOrd="0" destOrd="0" parTransId="{89C9B300-7934-40D3-8FF3-90469B48F791}" sibTransId="{E946ACE4-6F65-4397-9A66-60A4522B54B5}"/>
    <dgm:cxn modelId="{69F788A1-6501-43D2-91BC-81E365D0DB94}" srcId="{3598FDAC-DA07-42E4-AF69-872B801454DC}" destId="{3D811E13-BCA8-410B-92A6-A7A1B0AE79EB}" srcOrd="0" destOrd="0" parTransId="{F62F6BC5-7043-48F8-B19F-8C5B8CE9BBB0}" sibTransId="{D0BE0103-0560-480F-9F6A-9356D2942FF7}"/>
    <dgm:cxn modelId="{20B1C7AB-26C3-4FB0-A228-6483DD63860C}" type="presOf" srcId="{F2839EC6-C55D-4A6F-B2B9-9A2E48B4EDDE}" destId="{E22D5F6F-EB31-4794-995A-B447CFDFC19C}" srcOrd="0" destOrd="0" presId="urn:microsoft.com/office/officeart/2005/8/layout/hierarchy4"/>
    <dgm:cxn modelId="{238C1CAF-FEC1-46C6-BECD-ED6FA61A77D8}" type="presOf" srcId="{3D811E13-BCA8-410B-92A6-A7A1B0AE79EB}" destId="{02047D82-4E48-47F9-B3A4-7A4FF64BDE2F}" srcOrd="0" destOrd="0" presId="urn:microsoft.com/office/officeart/2005/8/layout/hierarchy4"/>
    <dgm:cxn modelId="{807B0DB1-E32F-4D52-ACBE-93BA40043D0A}" type="presOf" srcId="{7A86F8B8-22CD-4E1A-852B-4762696A480E}" destId="{9C117668-9D27-4B1B-B835-27EFC59E80D4}" srcOrd="0" destOrd="0" presId="urn:microsoft.com/office/officeart/2005/8/layout/hierarchy4"/>
    <dgm:cxn modelId="{8D986FBB-F430-492B-BF9B-549B05AC9831}" srcId="{065FC31B-79FB-4CBF-954C-A2FBDD64388D}" destId="{F2839EC6-C55D-4A6F-B2B9-9A2E48B4EDDE}" srcOrd="0" destOrd="0" parTransId="{6AC9AAB9-9361-48A1-9199-AC9FAF6B7ECF}" sibTransId="{8EB9D79A-91AC-49EC-A6BB-327621C2BE18}"/>
    <dgm:cxn modelId="{22CAFEC5-AFDE-437C-85CB-E4D6A274C165}" type="presOf" srcId="{92468619-2E5C-4DA3-829A-1EAD77976778}" destId="{182C0FBA-54B2-4EF1-8CE9-B52D99A4789F}" srcOrd="0" destOrd="0" presId="urn:microsoft.com/office/officeart/2005/8/layout/hierarchy4"/>
    <dgm:cxn modelId="{C975CAC8-C75A-4F6E-85CD-CC8866D25A29}" type="presOf" srcId="{6B6CD9C5-3FE4-43B6-8F6B-E9542E5E69EA}" destId="{4C603DB0-E501-417F-9308-54BEB419FCB9}" srcOrd="0" destOrd="0" presId="urn:microsoft.com/office/officeart/2005/8/layout/hierarchy4"/>
    <dgm:cxn modelId="{07779BD0-4FB9-4551-80C1-78E43EE92B76}" type="presOf" srcId="{3598FDAC-DA07-42E4-AF69-872B801454DC}" destId="{46E60340-0191-4A17-ADEA-C322584FCF66}" srcOrd="0" destOrd="0" presId="urn:microsoft.com/office/officeart/2005/8/layout/hierarchy4"/>
    <dgm:cxn modelId="{9626D4DC-40E5-436B-9026-2F2D24C0B2DD}" type="presOf" srcId="{EAB54FB5-3F88-4B1C-A443-DB8754C7069B}" destId="{B7B08494-735B-466A-842D-DF9BFA3521AD}" srcOrd="0" destOrd="0" presId="urn:microsoft.com/office/officeart/2005/8/layout/hierarchy4"/>
    <dgm:cxn modelId="{9BBC22EB-4173-4554-9546-E0DBE0450174}" srcId="{92468619-2E5C-4DA3-829A-1EAD77976778}" destId="{EAB54FB5-3F88-4B1C-A443-DB8754C7069B}" srcOrd="0" destOrd="0" parTransId="{E187249D-03A8-4597-84F3-251B45777F3D}" sibTransId="{B5A1C2DB-75F6-450B-987F-158CC25B82B8}"/>
    <dgm:cxn modelId="{21D235FB-BCE9-4155-85B7-F58AFE4FEE4D}" type="presOf" srcId="{835BF481-208F-4897-88F6-A647D3EDF68B}" destId="{ABD9DF18-2ABF-45AA-B7C8-1B3DEF1CB756}" srcOrd="0" destOrd="0" presId="urn:microsoft.com/office/officeart/2005/8/layout/hierarchy4"/>
    <dgm:cxn modelId="{851630E0-19E8-46B8-843C-BB4205396942}" type="presParOf" srcId="{182C0FBA-54B2-4EF1-8CE9-B52D99A4789F}" destId="{426F1780-A010-475B-8DFD-90DC2E295084}" srcOrd="0" destOrd="0" presId="urn:microsoft.com/office/officeart/2005/8/layout/hierarchy4"/>
    <dgm:cxn modelId="{C65A5358-89EE-42A3-BD4B-28BF7D52AF78}" type="presParOf" srcId="{426F1780-A010-475B-8DFD-90DC2E295084}" destId="{B7B08494-735B-466A-842D-DF9BFA3521AD}" srcOrd="0" destOrd="0" presId="urn:microsoft.com/office/officeart/2005/8/layout/hierarchy4"/>
    <dgm:cxn modelId="{2E58972A-B1BC-4055-9EDA-C1F08F5411DA}" type="presParOf" srcId="{426F1780-A010-475B-8DFD-90DC2E295084}" destId="{6231D267-F8F5-4793-8E94-DD239FA3ECB1}" srcOrd="1" destOrd="0" presId="urn:microsoft.com/office/officeart/2005/8/layout/hierarchy4"/>
    <dgm:cxn modelId="{F05B3A0D-1DEC-4A90-8F42-07E1ABD8FE39}" type="presParOf" srcId="{426F1780-A010-475B-8DFD-90DC2E295084}" destId="{C4C63BA3-D7D8-473B-87A6-AA919FAA0EAA}" srcOrd="2" destOrd="0" presId="urn:microsoft.com/office/officeart/2005/8/layout/hierarchy4"/>
    <dgm:cxn modelId="{71056C4C-66C3-4928-84B8-991683A5955D}" type="presParOf" srcId="{C4C63BA3-D7D8-473B-87A6-AA919FAA0EAA}" destId="{55FB29BB-41D0-49AC-B299-EC8ADF253820}" srcOrd="0" destOrd="0" presId="urn:microsoft.com/office/officeart/2005/8/layout/hierarchy4"/>
    <dgm:cxn modelId="{3A404B20-53E1-406F-B64E-4BDF9485A1EA}" type="presParOf" srcId="{55FB29BB-41D0-49AC-B299-EC8ADF253820}" destId="{ABD9DF18-2ABF-45AA-B7C8-1B3DEF1CB756}" srcOrd="0" destOrd="0" presId="urn:microsoft.com/office/officeart/2005/8/layout/hierarchy4"/>
    <dgm:cxn modelId="{AECDEC05-8F3F-42A9-9FCF-4FA91C221720}" type="presParOf" srcId="{55FB29BB-41D0-49AC-B299-EC8ADF253820}" destId="{FB2D0E62-E63F-4AF8-83A5-34D3202DD013}" srcOrd="1" destOrd="0" presId="urn:microsoft.com/office/officeart/2005/8/layout/hierarchy4"/>
    <dgm:cxn modelId="{31234BEF-C281-4FB3-8E96-F874A38D848D}" type="presParOf" srcId="{55FB29BB-41D0-49AC-B299-EC8ADF253820}" destId="{2DBE0F55-EA2A-4D94-82F1-AC1B1414D417}" srcOrd="2" destOrd="0" presId="urn:microsoft.com/office/officeart/2005/8/layout/hierarchy4"/>
    <dgm:cxn modelId="{AE838879-0875-4BF3-84CD-EF2850137695}" type="presParOf" srcId="{2DBE0F55-EA2A-4D94-82F1-AC1B1414D417}" destId="{429C0D6C-93CB-4D3E-81BD-C49D236C8E04}" srcOrd="0" destOrd="0" presId="urn:microsoft.com/office/officeart/2005/8/layout/hierarchy4"/>
    <dgm:cxn modelId="{145BF425-4970-4BC1-92AA-7DF7662644E6}" type="presParOf" srcId="{429C0D6C-93CB-4D3E-81BD-C49D236C8E04}" destId="{4C603DB0-E501-417F-9308-54BEB419FCB9}" srcOrd="0" destOrd="0" presId="urn:microsoft.com/office/officeart/2005/8/layout/hierarchy4"/>
    <dgm:cxn modelId="{964F4CCE-9E85-4102-8B1F-1BE39F0F3D07}" type="presParOf" srcId="{429C0D6C-93CB-4D3E-81BD-C49D236C8E04}" destId="{924A6312-5500-43C0-801E-F204F1AC4388}" srcOrd="1" destOrd="0" presId="urn:microsoft.com/office/officeart/2005/8/layout/hierarchy4"/>
    <dgm:cxn modelId="{23BFDBD7-C908-43C0-8582-F46D33382733}" type="presParOf" srcId="{429C0D6C-93CB-4D3E-81BD-C49D236C8E04}" destId="{1B7D9600-793E-495C-921F-BBDFC9B912BC}" srcOrd="2" destOrd="0" presId="urn:microsoft.com/office/officeart/2005/8/layout/hierarchy4"/>
    <dgm:cxn modelId="{98764B9B-EED5-4FF9-A1D1-36A03FFD6591}" type="presParOf" srcId="{1B7D9600-793E-495C-921F-BBDFC9B912BC}" destId="{65DA8E9A-3B1A-4880-9AA8-5119FA8174AB}" srcOrd="0" destOrd="0" presId="urn:microsoft.com/office/officeart/2005/8/layout/hierarchy4"/>
    <dgm:cxn modelId="{A48C5D9A-5E61-4588-8AF5-979108F03B97}" type="presParOf" srcId="{65DA8E9A-3B1A-4880-9AA8-5119FA8174AB}" destId="{9C117668-9D27-4B1B-B835-27EFC59E80D4}" srcOrd="0" destOrd="0" presId="urn:microsoft.com/office/officeart/2005/8/layout/hierarchy4"/>
    <dgm:cxn modelId="{D9A59747-5AAF-433C-BBD3-0B9030101DF7}" type="presParOf" srcId="{65DA8E9A-3B1A-4880-9AA8-5119FA8174AB}" destId="{FC1A92B4-C6A7-444F-B19D-792F793163FA}" srcOrd="1" destOrd="0" presId="urn:microsoft.com/office/officeart/2005/8/layout/hierarchy4"/>
    <dgm:cxn modelId="{F7E9E82F-38E3-4A9E-A08F-48582BF5FA70}" type="presParOf" srcId="{65DA8E9A-3B1A-4880-9AA8-5119FA8174AB}" destId="{68B49F92-7E41-4108-8A35-1E041C849D59}" srcOrd="2" destOrd="0" presId="urn:microsoft.com/office/officeart/2005/8/layout/hierarchy4"/>
    <dgm:cxn modelId="{2A91D46C-4A5B-4FA0-AC6A-CE3C41DA45C1}" type="presParOf" srcId="{68B49F92-7E41-4108-8A35-1E041C849D59}" destId="{312C5FA1-C8A6-44CB-921D-04B488ADA52B}" srcOrd="0" destOrd="0" presId="urn:microsoft.com/office/officeart/2005/8/layout/hierarchy4"/>
    <dgm:cxn modelId="{59285F3E-0A31-4081-ABBA-B8BF0BED59B6}" type="presParOf" srcId="{312C5FA1-C8A6-44CB-921D-04B488ADA52B}" destId="{46E60340-0191-4A17-ADEA-C322584FCF66}" srcOrd="0" destOrd="0" presId="urn:microsoft.com/office/officeart/2005/8/layout/hierarchy4"/>
    <dgm:cxn modelId="{428C8277-41F3-4B87-ACFE-857AB8A5B2D3}" type="presParOf" srcId="{312C5FA1-C8A6-44CB-921D-04B488ADA52B}" destId="{193ADCCB-6D16-45D7-883C-FE74081E174C}" srcOrd="1" destOrd="0" presId="urn:microsoft.com/office/officeart/2005/8/layout/hierarchy4"/>
    <dgm:cxn modelId="{2E169DF5-5D92-476B-8BA9-208D681CA11E}" type="presParOf" srcId="{312C5FA1-C8A6-44CB-921D-04B488ADA52B}" destId="{58111803-AC5D-44DB-81D9-660677BB5487}" srcOrd="2" destOrd="0" presId="urn:microsoft.com/office/officeart/2005/8/layout/hierarchy4"/>
    <dgm:cxn modelId="{7094D952-784E-4196-A34A-A99FE5658FD5}" type="presParOf" srcId="{58111803-AC5D-44DB-81D9-660677BB5487}" destId="{F3AF4B5D-C7D2-4014-970F-74B2953156CA}" srcOrd="0" destOrd="0" presId="urn:microsoft.com/office/officeart/2005/8/layout/hierarchy4"/>
    <dgm:cxn modelId="{E8F1C361-BECE-436E-A2BE-E2A73BF98248}" type="presParOf" srcId="{F3AF4B5D-C7D2-4014-970F-74B2953156CA}" destId="{02047D82-4E48-47F9-B3A4-7A4FF64BDE2F}" srcOrd="0" destOrd="0" presId="urn:microsoft.com/office/officeart/2005/8/layout/hierarchy4"/>
    <dgm:cxn modelId="{8340AFD1-AA4E-45E6-A3C2-4C2969661032}" type="presParOf" srcId="{F3AF4B5D-C7D2-4014-970F-74B2953156CA}" destId="{752224E4-8EC1-40DA-9F58-FFFE0AA94133}" srcOrd="1" destOrd="0" presId="urn:microsoft.com/office/officeart/2005/8/layout/hierarchy4"/>
    <dgm:cxn modelId="{BADB6798-75AD-4234-AA28-26FBBCEDD258}" type="presParOf" srcId="{F3AF4B5D-C7D2-4014-970F-74B2953156CA}" destId="{B319EDEE-6D63-4CCF-9482-0CB98798F3B1}" srcOrd="2" destOrd="0" presId="urn:microsoft.com/office/officeart/2005/8/layout/hierarchy4"/>
    <dgm:cxn modelId="{2DD25D49-697E-4114-B707-2DEACF0A70A0}" type="presParOf" srcId="{B319EDEE-6D63-4CCF-9482-0CB98798F3B1}" destId="{B43ED0A7-4853-4B4B-A2E5-64CFC550270C}" srcOrd="0" destOrd="0" presId="urn:microsoft.com/office/officeart/2005/8/layout/hierarchy4"/>
    <dgm:cxn modelId="{202463D0-052D-4E32-B59B-3045C5698589}" type="presParOf" srcId="{B43ED0A7-4853-4B4B-A2E5-64CFC550270C}" destId="{3F0BB1E3-32B9-48A7-B919-F017CF944891}" srcOrd="0" destOrd="0" presId="urn:microsoft.com/office/officeart/2005/8/layout/hierarchy4"/>
    <dgm:cxn modelId="{D3BD0DDE-2EC3-4F5E-9B19-29476280C640}" type="presParOf" srcId="{B43ED0A7-4853-4B4B-A2E5-64CFC550270C}" destId="{879E7C66-FBCF-4E88-A293-7E1E63AA5124}" srcOrd="1" destOrd="0" presId="urn:microsoft.com/office/officeart/2005/8/layout/hierarchy4"/>
    <dgm:cxn modelId="{3DD046DE-791C-4BEF-9241-95B81C364ADF}" type="presParOf" srcId="{B43ED0A7-4853-4B4B-A2E5-64CFC550270C}" destId="{C1C35477-2047-4AD0-978D-CBA1EDF08BAC}" srcOrd="2" destOrd="0" presId="urn:microsoft.com/office/officeart/2005/8/layout/hierarchy4"/>
    <dgm:cxn modelId="{5D5932D2-8896-4ADE-8AE6-0F2A6EE0077F}" type="presParOf" srcId="{C1C35477-2047-4AD0-978D-CBA1EDF08BAC}" destId="{7B04C1E1-8BE0-4141-9EE8-2527BDA8EC61}" srcOrd="0" destOrd="0" presId="urn:microsoft.com/office/officeart/2005/8/layout/hierarchy4"/>
    <dgm:cxn modelId="{E07B625C-B296-4206-869C-37F042C6436D}" type="presParOf" srcId="{7B04C1E1-8BE0-4141-9EE8-2527BDA8EC61}" destId="{E22D5F6F-EB31-4794-995A-B447CFDFC19C}" srcOrd="0" destOrd="0" presId="urn:microsoft.com/office/officeart/2005/8/layout/hierarchy4"/>
    <dgm:cxn modelId="{382CFE65-1C22-46D5-BF51-8EFF0059363F}" type="presParOf" srcId="{7B04C1E1-8BE0-4141-9EE8-2527BDA8EC61}" destId="{1C5B63B3-331F-4E7A-B79B-0CE2F310CAFE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2468619-2E5C-4DA3-829A-1EAD77976778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AB54FB5-3F88-4B1C-A443-DB8754C7069B}">
      <dgm:prSet phldrT="[Text]" custT="1"/>
      <dgm:spPr>
        <a:solidFill>
          <a:srgbClr val="243782"/>
        </a:solidFill>
      </dgm:spPr>
      <dgm:t>
        <a:bodyPr/>
        <a:lstStyle/>
        <a:p>
          <a:r>
            <a:rPr lang="en-US" sz="1800" b="1">
              <a:latin typeface="Arial (Headings)"/>
            </a:rPr>
            <a:t>REVIEW</a:t>
          </a:r>
        </a:p>
      </dgm:t>
    </dgm:pt>
    <dgm:pt modelId="{E187249D-03A8-4597-84F3-251B45777F3D}" type="parTrans" cxnId="{9BBC22EB-4173-4554-9546-E0DBE0450174}">
      <dgm:prSet/>
      <dgm:spPr/>
      <dgm:t>
        <a:bodyPr/>
        <a:lstStyle/>
        <a:p>
          <a:endParaRPr lang="en-US"/>
        </a:p>
      </dgm:t>
    </dgm:pt>
    <dgm:pt modelId="{B5A1C2DB-75F6-450B-987F-158CC25B82B8}" type="sibTrans" cxnId="{9BBC22EB-4173-4554-9546-E0DBE0450174}">
      <dgm:prSet/>
      <dgm:spPr/>
      <dgm:t>
        <a:bodyPr/>
        <a:lstStyle/>
        <a:p>
          <a:endParaRPr lang="en-US"/>
        </a:p>
      </dgm:t>
    </dgm:pt>
    <dgm:pt modelId="{E6CDBFDE-1413-4FA6-A90A-5283143D2CBC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Preparation and review</a:t>
          </a:r>
        </a:p>
      </dgm:t>
    </dgm:pt>
    <dgm:pt modelId="{16F19077-AB2F-4844-94D0-D5A14A246BC2}" type="parTrans" cxnId="{D1E972DA-E576-4C9B-B65C-3B2895F98624}">
      <dgm:prSet/>
      <dgm:spPr/>
      <dgm:t>
        <a:bodyPr/>
        <a:lstStyle/>
        <a:p>
          <a:endParaRPr lang="en-US"/>
        </a:p>
      </dgm:t>
    </dgm:pt>
    <dgm:pt modelId="{29063DED-FBFC-4BC2-A969-2DED538D436F}" type="sibTrans" cxnId="{D1E972DA-E576-4C9B-B65C-3B2895F98624}">
      <dgm:prSet/>
      <dgm:spPr/>
      <dgm:t>
        <a:bodyPr/>
        <a:lstStyle/>
        <a:p>
          <a:endParaRPr lang="en-US"/>
        </a:p>
      </dgm:t>
    </dgm:pt>
    <dgm:pt modelId="{28C121CB-61A3-44A8-A03B-059147D295F8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Polite and professional tone</a:t>
          </a:r>
        </a:p>
      </dgm:t>
    </dgm:pt>
    <dgm:pt modelId="{2FAEA671-3F8B-41E9-B4E5-1B2DE35B043C}" type="parTrans" cxnId="{591EB48D-17E4-4F19-BCD8-908751CAA354}">
      <dgm:prSet/>
      <dgm:spPr/>
      <dgm:t>
        <a:bodyPr/>
        <a:lstStyle/>
        <a:p>
          <a:endParaRPr lang="en-US"/>
        </a:p>
      </dgm:t>
    </dgm:pt>
    <dgm:pt modelId="{92C01530-020E-4DB0-96C9-F02B4A8BE28C}" type="sibTrans" cxnId="{591EB48D-17E4-4F19-BCD8-908751CAA354}">
      <dgm:prSet/>
      <dgm:spPr/>
      <dgm:t>
        <a:bodyPr/>
        <a:lstStyle/>
        <a:p>
          <a:endParaRPr lang="en-US"/>
        </a:p>
      </dgm:t>
    </dgm:pt>
    <dgm:pt modelId="{F2839EC6-C55D-4A6F-B2B9-9A2E48B4EDDE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Active listening</a:t>
          </a:r>
        </a:p>
      </dgm:t>
    </dgm:pt>
    <dgm:pt modelId="{6AC9AAB9-9361-48A1-9199-AC9FAF6B7ECF}" type="parTrans" cxnId="{8D986FBB-F430-492B-BF9B-549B05AC9831}">
      <dgm:prSet/>
      <dgm:spPr/>
      <dgm:t>
        <a:bodyPr/>
        <a:lstStyle/>
        <a:p>
          <a:endParaRPr lang="en-US"/>
        </a:p>
      </dgm:t>
    </dgm:pt>
    <dgm:pt modelId="{8EB9D79A-91AC-49EC-A6BB-327621C2BE18}" type="sibTrans" cxnId="{8D986FBB-F430-492B-BF9B-549B05AC9831}">
      <dgm:prSet/>
      <dgm:spPr/>
      <dgm:t>
        <a:bodyPr/>
        <a:lstStyle/>
        <a:p>
          <a:endParaRPr lang="en-US"/>
        </a:p>
      </dgm:t>
    </dgm:pt>
    <dgm:pt modelId="{3B856125-B30D-4676-AD97-B372E4E2A430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Introduced yourself (Name, Position, Dealership)</a:t>
          </a:r>
        </a:p>
      </dgm:t>
    </dgm:pt>
    <dgm:pt modelId="{89B03534-B7EE-4639-9BCD-68D308A8E9D3}" type="parTrans" cxnId="{33622BB3-BB62-424C-9FEF-A0DB332F7F0E}">
      <dgm:prSet/>
      <dgm:spPr/>
      <dgm:t>
        <a:bodyPr/>
        <a:lstStyle/>
        <a:p>
          <a:endParaRPr lang="en-US"/>
        </a:p>
      </dgm:t>
    </dgm:pt>
    <dgm:pt modelId="{AF7E721E-1697-46D5-8638-DB829CC07813}" type="sibTrans" cxnId="{33622BB3-BB62-424C-9FEF-A0DB332F7F0E}">
      <dgm:prSet/>
      <dgm:spPr/>
      <dgm:t>
        <a:bodyPr/>
        <a:lstStyle/>
        <a:p>
          <a:endParaRPr lang="en-US"/>
        </a:p>
      </dgm:t>
    </dgm:pt>
    <dgm:pt modelId="{34306B6A-7CF5-45CC-A798-AFC2363D0C10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Answered and/or addressed all questions</a:t>
          </a:r>
        </a:p>
      </dgm:t>
    </dgm:pt>
    <dgm:pt modelId="{5D01642D-544A-4BA8-8B38-01801FF44243}" type="parTrans" cxnId="{57A8B29B-E130-4159-898B-3C2BBDDBF13F}">
      <dgm:prSet/>
      <dgm:spPr/>
      <dgm:t>
        <a:bodyPr/>
        <a:lstStyle/>
        <a:p>
          <a:endParaRPr lang="en-US"/>
        </a:p>
      </dgm:t>
    </dgm:pt>
    <dgm:pt modelId="{28D9B45F-34F4-424B-9401-E577C137F134}" type="sibTrans" cxnId="{57A8B29B-E130-4159-898B-3C2BBDDBF13F}">
      <dgm:prSet/>
      <dgm:spPr/>
      <dgm:t>
        <a:bodyPr/>
        <a:lstStyle/>
        <a:p>
          <a:endParaRPr lang="en-US"/>
        </a:p>
      </dgm:t>
    </dgm:pt>
    <dgm:pt modelId="{1F0BDBA9-99CF-4BCB-8E9B-2109975ECDB8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Take notes</a:t>
          </a:r>
        </a:p>
      </dgm:t>
    </dgm:pt>
    <dgm:pt modelId="{883F3FFA-D957-462D-B754-B7986961ED70}" type="parTrans" cxnId="{B6CDCB9B-C812-4FBA-BB63-5A49530C7EA7}">
      <dgm:prSet/>
      <dgm:spPr/>
      <dgm:t>
        <a:bodyPr/>
        <a:lstStyle/>
        <a:p>
          <a:endParaRPr lang="en-US"/>
        </a:p>
      </dgm:t>
    </dgm:pt>
    <dgm:pt modelId="{785AF9C2-5113-419E-A98F-E64F52D15A9C}" type="sibTrans" cxnId="{B6CDCB9B-C812-4FBA-BB63-5A49530C7EA7}">
      <dgm:prSet/>
      <dgm:spPr/>
      <dgm:t>
        <a:bodyPr/>
        <a:lstStyle/>
        <a:p>
          <a:endParaRPr lang="en-US"/>
        </a:p>
      </dgm:t>
    </dgm:pt>
    <dgm:pt modelId="{E1DE0408-74B4-40E8-AEFC-C5153225AF63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en-US" sz="18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Next Steps and clear follow-up plan</a:t>
          </a:r>
        </a:p>
      </dgm:t>
    </dgm:pt>
    <dgm:pt modelId="{E6156AE4-883F-4348-A053-99B986C88AEA}" type="parTrans" cxnId="{0F9BDE64-3D31-4981-962D-10924693F5FA}">
      <dgm:prSet/>
      <dgm:spPr/>
      <dgm:t>
        <a:bodyPr/>
        <a:lstStyle/>
        <a:p>
          <a:endParaRPr lang="en-US"/>
        </a:p>
      </dgm:t>
    </dgm:pt>
    <dgm:pt modelId="{BF461806-9AFE-4231-9BC6-45D5146D9FC5}" type="sibTrans" cxnId="{0F9BDE64-3D31-4981-962D-10924693F5FA}">
      <dgm:prSet/>
      <dgm:spPr/>
      <dgm:t>
        <a:bodyPr/>
        <a:lstStyle/>
        <a:p>
          <a:endParaRPr lang="en-US"/>
        </a:p>
      </dgm:t>
    </dgm:pt>
    <dgm:pt modelId="{182C0FBA-54B2-4EF1-8CE9-B52D99A4789F}" type="pres">
      <dgm:prSet presAssocID="{92468619-2E5C-4DA3-829A-1EAD77976778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26F1780-A010-475B-8DFD-90DC2E295084}" type="pres">
      <dgm:prSet presAssocID="{EAB54FB5-3F88-4B1C-A443-DB8754C7069B}" presName="vertOne" presStyleCnt="0"/>
      <dgm:spPr/>
    </dgm:pt>
    <dgm:pt modelId="{B7B08494-735B-466A-842D-DF9BFA3521AD}" type="pres">
      <dgm:prSet presAssocID="{EAB54FB5-3F88-4B1C-A443-DB8754C7069B}" presName="txOne" presStyleLbl="node0" presStyleIdx="0" presStyleCnt="1" custLinFactNeighborX="-67663" custLinFactNeighborY="-7856">
        <dgm:presLayoutVars>
          <dgm:chPref val="3"/>
        </dgm:presLayoutVars>
      </dgm:prSet>
      <dgm:spPr/>
    </dgm:pt>
    <dgm:pt modelId="{2CEE4DF6-1130-4161-B0AF-AD5BE5420ADF}" type="pres">
      <dgm:prSet presAssocID="{EAB54FB5-3F88-4B1C-A443-DB8754C7069B}" presName="parTransOne" presStyleCnt="0"/>
      <dgm:spPr/>
    </dgm:pt>
    <dgm:pt modelId="{C4C63BA3-D7D8-473B-87A6-AA919FAA0EAA}" type="pres">
      <dgm:prSet presAssocID="{EAB54FB5-3F88-4B1C-A443-DB8754C7069B}" presName="horzOne" presStyleCnt="0"/>
      <dgm:spPr/>
    </dgm:pt>
    <dgm:pt modelId="{B3D79993-1C78-40DD-9178-D003FEA2C14D}" type="pres">
      <dgm:prSet presAssocID="{E6CDBFDE-1413-4FA6-A90A-5283143D2CBC}" presName="vertTwo" presStyleCnt="0"/>
      <dgm:spPr/>
    </dgm:pt>
    <dgm:pt modelId="{DA5331A6-DCEB-4751-9FEF-75DF76ED7A9F}" type="pres">
      <dgm:prSet presAssocID="{E6CDBFDE-1413-4FA6-A90A-5283143D2CBC}" presName="txTwo" presStyleLbl="node2" presStyleIdx="0" presStyleCnt="1">
        <dgm:presLayoutVars>
          <dgm:chPref val="3"/>
        </dgm:presLayoutVars>
      </dgm:prSet>
      <dgm:spPr/>
    </dgm:pt>
    <dgm:pt modelId="{6B14AFE1-A6E8-4997-93B5-EF1A0C25A7E3}" type="pres">
      <dgm:prSet presAssocID="{E6CDBFDE-1413-4FA6-A90A-5283143D2CBC}" presName="parTransTwo" presStyleCnt="0"/>
      <dgm:spPr/>
    </dgm:pt>
    <dgm:pt modelId="{5E1C0694-BE26-4D6F-AD05-931FC983A477}" type="pres">
      <dgm:prSet presAssocID="{E6CDBFDE-1413-4FA6-A90A-5283143D2CBC}" presName="horzTwo" presStyleCnt="0"/>
      <dgm:spPr/>
    </dgm:pt>
    <dgm:pt modelId="{2974AD5F-7187-4ED5-BE92-BA5C6473500A}" type="pres">
      <dgm:prSet presAssocID="{F2839EC6-C55D-4A6F-B2B9-9A2E48B4EDDE}" presName="vertThree" presStyleCnt="0"/>
      <dgm:spPr/>
    </dgm:pt>
    <dgm:pt modelId="{9C928FEA-A4AC-4FC9-AF72-80429CE4D843}" type="pres">
      <dgm:prSet presAssocID="{F2839EC6-C55D-4A6F-B2B9-9A2E48B4EDDE}" presName="txThree" presStyleLbl="node3" presStyleIdx="0" presStyleCnt="1">
        <dgm:presLayoutVars>
          <dgm:chPref val="3"/>
        </dgm:presLayoutVars>
      </dgm:prSet>
      <dgm:spPr/>
    </dgm:pt>
    <dgm:pt modelId="{4CF5AE16-6EE8-4783-AB3B-CDA50B2989BD}" type="pres">
      <dgm:prSet presAssocID="{F2839EC6-C55D-4A6F-B2B9-9A2E48B4EDDE}" presName="parTransThree" presStyleCnt="0"/>
      <dgm:spPr/>
    </dgm:pt>
    <dgm:pt modelId="{9A40DA42-EF12-4635-96EC-B20174122A15}" type="pres">
      <dgm:prSet presAssocID="{F2839EC6-C55D-4A6F-B2B9-9A2E48B4EDDE}" presName="horzThree" presStyleCnt="0"/>
      <dgm:spPr/>
    </dgm:pt>
    <dgm:pt modelId="{ECECCE20-B42C-45C5-A935-33C4D8434623}" type="pres">
      <dgm:prSet presAssocID="{28C121CB-61A3-44A8-A03B-059147D295F8}" presName="vertFour" presStyleCnt="0">
        <dgm:presLayoutVars>
          <dgm:chPref val="3"/>
        </dgm:presLayoutVars>
      </dgm:prSet>
      <dgm:spPr/>
    </dgm:pt>
    <dgm:pt modelId="{647B045C-CD47-4538-81BC-D81BFCCBCFA5}" type="pres">
      <dgm:prSet presAssocID="{28C121CB-61A3-44A8-A03B-059147D295F8}" presName="txFour" presStyleLbl="node4" presStyleIdx="0" presStyleCnt="5">
        <dgm:presLayoutVars>
          <dgm:chPref val="3"/>
        </dgm:presLayoutVars>
      </dgm:prSet>
      <dgm:spPr/>
    </dgm:pt>
    <dgm:pt modelId="{B2572BA5-3759-488F-84E8-E93D30241118}" type="pres">
      <dgm:prSet presAssocID="{28C121CB-61A3-44A8-A03B-059147D295F8}" presName="parTransFour" presStyleCnt="0"/>
      <dgm:spPr/>
    </dgm:pt>
    <dgm:pt modelId="{BDBEE72C-9AF8-4628-9C68-0D2D10EE4B9B}" type="pres">
      <dgm:prSet presAssocID="{28C121CB-61A3-44A8-A03B-059147D295F8}" presName="horzFour" presStyleCnt="0"/>
      <dgm:spPr/>
    </dgm:pt>
    <dgm:pt modelId="{FD2E592D-A19E-4E57-B053-50DB87FAE8DA}" type="pres">
      <dgm:prSet presAssocID="{3B856125-B30D-4676-AD97-B372E4E2A430}" presName="vertFour" presStyleCnt="0">
        <dgm:presLayoutVars>
          <dgm:chPref val="3"/>
        </dgm:presLayoutVars>
      </dgm:prSet>
      <dgm:spPr/>
    </dgm:pt>
    <dgm:pt modelId="{3F02C9F8-EA49-475A-BF24-2EA59E4BC0FE}" type="pres">
      <dgm:prSet presAssocID="{3B856125-B30D-4676-AD97-B372E4E2A430}" presName="txFour" presStyleLbl="node4" presStyleIdx="1" presStyleCnt="5">
        <dgm:presLayoutVars>
          <dgm:chPref val="3"/>
        </dgm:presLayoutVars>
      </dgm:prSet>
      <dgm:spPr/>
    </dgm:pt>
    <dgm:pt modelId="{410EEE90-4FDF-4A2E-8621-6744A7B205E7}" type="pres">
      <dgm:prSet presAssocID="{3B856125-B30D-4676-AD97-B372E4E2A430}" presName="parTransFour" presStyleCnt="0"/>
      <dgm:spPr/>
    </dgm:pt>
    <dgm:pt modelId="{A48CAFA1-61F8-4FD5-B56B-DE8349EC3968}" type="pres">
      <dgm:prSet presAssocID="{3B856125-B30D-4676-AD97-B372E4E2A430}" presName="horzFour" presStyleCnt="0"/>
      <dgm:spPr/>
    </dgm:pt>
    <dgm:pt modelId="{441A739E-3219-414F-B56E-E44D6026B38F}" type="pres">
      <dgm:prSet presAssocID="{34306B6A-7CF5-45CC-A798-AFC2363D0C10}" presName="vertFour" presStyleCnt="0">
        <dgm:presLayoutVars>
          <dgm:chPref val="3"/>
        </dgm:presLayoutVars>
      </dgm:prSet>
      <dgm:spPr/>
    </dgm:pt>
    <dgm:pt modelId="{79BB7786-005E-48A1-B65A-8AB6338DB0C1}" type="pres">
      <dgm:prSet presAssocID="{34306B6A-7CF5-45CC-A798-AFC2363D0C10}" presName="txFour" presStyleLbl="node4" presStyleIdx="2" presStyleCnt="5">
        <dgm:presLayoutVars>
          <dgm:chPref val="3"/>
        </dgm:presLayoutVars>
      </dgm:prSet>
      <dgm:spPr/>
    </dgm:pt>
    <dgm:pt modelId="{86777A81-3506-4920-A1ED-B6F73A966C69}" type="pres">
      <dgm:prSet presAssocID="{34306B6A-7CF5-45CC-A798-AFC2363D0C10}" presName="parTransFour" presStyleCnt="0"/>
      <dgm:spPr/>
    </dgm:pt>
    <dgm:pt modelId="{C04BF62F-6F8D-4C96-B32E-39C363A11A0F}" type="pres">
      <dgm:prSet presAssocID="{34306B6A-7CF5-45CC-A798-AFC2363D0C10}" presName="horzFour" presStyleCnt="0"/>
      <dgm:spPr/>
    </dgm:pt>
    <dgm:pt modelId="{9277FE82-657C-42E9-A407-5EF9B50F5361}" type="pres">
      <dgm:prSet presAssocID="{1F0BDBA9-99CF-4BCB-8E9B-2109975ECDB8}" presName="vertFour" presStyleCnt="0">
        <dgm:presLayoutVars>
          <dgm:chPref val="3"/>
        </dgm:presLayoutVars>
      </dgm:prSet>
      <dgm:spPr/>
    </dgm:pt>
    <dgm:pt modelId="{53987E47-B92C-42A6-9C02-78585B4A9C93}" type="pres">
      <dgm:prSet presAssocID="{1F0BDBA9-99CF-4BCB-8E9B-2109975ECDB8}" presName="txFour" presStyleLbl="node4" presStyleIdx="3" presStyleCnt="5">
        <dgm:presLayoutVars>
          <dgm:chPref val="3"/>
        </dgm:presLayoutVars>
      </dgm:prSet>
      <dgm:spPr/>
    </dgm:pt>
    <dgm:pt modelId="{D3ABF014-E17B-4DCA-B7D8-E86531C5A847}" type="pres">
      <dgm:prSet presAssocID="{1F0BDBA9-99CF-4BCB-8E9B-2109975ECDB8}" presName="parTransFour" presStyleCnt="0"/>
      <dgm:spPr/>
    </dgm:pt>
    <dgm:pt modelId="{1010862F-B9F6-4891-98ED-5A854ABE73AC}" type="pres">
      <dgm:prSet presAssocID="{1F0BDBA9-99CF-4BCB-8E9B-2109975ECDB8}" presName="horzFour" presStyleCnt="0"/>
      <dgm:spPr/>
    </dgm:pt>
    <dgm:pt modelId="{C6455D91-BF03-4194-AA61-B14725FF98B8}" type="pres">
      <dgm:prSet presAssocID="{E1DE0408-74B4-40E8-AEFC-C5153225AF63}" presName="vertFour" presStyleCnt="0">
        <dgm:presLayoutVars>
          <dgm:chPref val="3"/>
        </dgm:presLayoutVars>
      </dgm:prSet>
      <dgm:spPr/>
    </dgm:pt>
    <dgm:pt modelId="{DB13E5F7-9740-4C27-8FB1-678B916C7D72}" type="pres">
      <dgm:prSet presAssocID="{E1DE0408-74B4-40E8-AEFC-C5153225AF63}" presName="txFour" presStyleLbl="node4" presStyleIdx="4" presStyleCnt="5">
        <dgm:presLayoutVars>
          <dgm:chPref val="3"/>
        </dgm:presLayoutVars>
      </dgm:prSet>
      <dgm:spPr/>
    </dgm:pt>
    <dgm:pt modelId="{0D4A68DB-6231-452B-9C4E-FFA19E700A70}" type="pres">
      <dgm:prSet presAssocID="{E1DE0408-74B4-40E8-AEFC-C5153225AF63}" presName="horzFour" presStyleCnt="0"/>
      <dgm:spPr/>
    </dgm:pt>
  </dgm:ptLst>
  <dgm:cxnLst>
    <dgm:cxn modelId="{0F9BDE64-3D31-4981-962D-10924693F5FA}" srcId="{1F0BDBA9-99CF-4BCB-8E9B-2109975ECDB8}" destId="{E1DE0408-74B4-40E8-AEFC-C5153225AF63}" srcOrd="0" destOrd="0" parTransId="{E6156AE4-883F-4348-A053-99B986C88AEA}" sibTransId="{BF461806-9AFE-4231-9BC6-45D5146D9FC5}"/>
    <dgm:cxn modelId="{70FA4859-6F15-4BFC-86D2-817F694851E0}" type="presOf" srcId="{E6CDBFDE-1413-4FA6-A90A-5283143D2CBC}" destId="{DA5331A6-DCEB-4751-9FEF-75DF76ED7A9F}" srcOrd="0" destOrd="0" presId="urn:microsoft.com/office/officeart/2005/8/layout/hierarchy4"/>
    <dgm:cxn modelId="{591EB48D-17E4-4F19-BCD8-908751CAA354}" srcId="{F2839EC6-C55D-4A6F-B2B9-9A2E48B4EDDE}" destId="{28C121CB-61A3-44A8-A03B-059147D295F8}" srcOrd="0" destOrd="0" parTransId="{2FAEA671-3F8B-41E9-B4E5-1B2DE35B043C}" sibTransId="{92C01530-020E-4DB0-96C9-F02B4A8BE28C}"/>
    <dgm:cxn modelId="{57A8B29B-E130-4159-898B-3C2BBDDBF13F}" srcId="{3B856125-B30D-4676-AD97-B372E4E2A430}" destId="{34306B6A-7CF5-45CC-A798-AFC2363D0C10}" srcOrd="0" destOrd="0" parTransId="{5D01642D-544A-4BA8-8B38-01801FF44243}" sibTransId="{28D9B45F-34F4-424B-9401-E577C137F134}"/>
    <dgm:cxn modelId="{B6CDCB9B-C812-4FBA-BB63-5A49530C7EA7}" srcId="{34306B6A-7CF5-45CC-A798-AFC2363D0C10}" destId="{1F0BDBA9-99CF-4BCB-8E9B-2109975ECDB8}" srcOrd="0" destOrd="0" parTransId="{883F3FFA-D957-462D-B754-B7986961ED70}" sibTransId="{785AF9C2-5113-419E-A98F-E64F52D15A9C}"/>
    <dgm:cxn modelId="{8C6083AC-552C-4A6F-B2F5-95958CF8BFF1}" type="presOf" srcId="{34306B6A-7CF5-45CC-A798-AFC2363D0C10}" destId="{79BB7786-005E-48A1-B65A-8AB6338DB0C1}" srcOrd="0" destOrd="0" presId="urn:microsoft.com/office/officeart/2005/8/layout/hierarchy4"/>
    <dgm:cxn modelId="{33622BB3-BB62-424C-9FEF-A0DB332F7F0E}" srcId="{28C121CB-61A3-44A8-A03B-059147D295F8}" destId="{3B856125-B30D-4676-AD97-B372E4E2A430}" srcOrd="0" destOrd="0" parTransId="{89B03534-B7EE-4639-9BCD-68D308A8E9D3}" sibTransId="{AF7E721E-1697-46D5-8638-DB829CC07813}"/>
    <dgm:cxn modelId="{CCE77DB9-29FD-4888-B644-BD4C4B49073D}" type="presOf" srcId="{1F0BDBA9-99CF-4BCB-8E9B-2109975ECDB8}" destId="{53987E47-B92C-42A6-9C02-78585B4A9C93}" srcOrd="0" destOrd="0" presId="urn:microsoft.com/office/officeart/2005/8/layout/hierarchy4"/>
    <dgm:cxn modelId="{8D986FBB-F430-492B-BF9B-549B05AC9831}" srcId="{E6CDBFDE-1413-4FA6-A90A-5283143D2CBC}" destId="{F2839EC6-C55D-4A6F-B2B9-9A2E48B4EDDE}" srcOrd="0" destOrd="0" parTransId="{6AC9AAB9-9361-48A1-9199-AC9FAF6B7ECF}" sibTransId="{8EB9D79A-91AC-49EC-A6BB-327621C2BE18}"/>
    <dgm:cxn modelId="{7DF329C3-9CAD-4096-8314-D64D3D8D9BE3}" type="presOf" srcId="{28C121CB-61A3-44A8-A03B-059147D295F8}" destId="{647B045C-CD47-4538-81BC-D81BFCCBCFA5}" srcOrd="0" destOrd="0" presId="urn:microsoft.com/office/officeart/2005/8/layout/hierarchy4"/>
    <dgm:cxn modelId="{22CAFEC5-AFDE-437C-85CB-E4D6A274C165}" type="presOf" srcId="{92468619-2E5C-4DA3-829A-1EAD77976778}" destId="{182C0FBA-54B2-4EF1-8CE9-B52D99A4789F}" srcOrd="0" destOrd="0" presId="urn:microsoft.com/office/officeart/2005/8/layout/hierarchy4"/>
    <dgm:cxn modelId="{66C4A0CF-5CB1-4FFF-BEB1-A31541707659}" type="presOf" srcId="{F2839EC6-C55D-4A6F-B2B9-9A2E48B4EDDE}" destId="{9C928FEA-A4AC-4FC9-AF72-80429CE4D843}" srcOrd="0" destOrd="0" presId="urn:microsoft.com/office/officeart/2005/8/layout/hierarchy4"/>
    <dgm:cxn modelId="{D1E972DA-E576-4C9B-B65C-3B2895F98624}" srcId="{EAB54FB5-3F88-4B1C-A443-DB8754C7069B}" destId="{E6CDBFDE-1413-4FA6-A90A-5283143D2CBC}" srcOrd="0" destOrd="0" parTransId="{16F19077-AB2F-4844-94D0-D5A14A246BC2}" sibTransId="{29063DED-FBFC-4BC2-A969-2DED538D436F}"/>
    <dgm:cxn modelId="{9626D4DC-40E5-436B-9026-2F2D24C0B2DD}" type="presOf" srcId="{EAB54FB5-3F88-4B1C-A443-DB8754C7069B}" destId="{B7B08494-735B-466A-842D-DF9BFA3521AD}" srcOrd="0" destOrd="0" presId="urn:microsoft.com/office/officeart/2005/8/layout/hierarchy4"/>
    <dgm:cxn modelId="{8E068EDF-008D-4DFC-8F09-8E4BB4F61873}" type="presOf" srcId="{E1DE0408-74B4-40E8-AEFC-C5153225AF63}" destId="{DB13E5F7-9740-4C27-8FB1-678B916C7D72}" srcOrd="0" destOrd="0" presId="urn:microsoft.com/office/officeart/2005/8/layout/hierarchy4"/>
    <dgm:cxn modelId="{8F67CAEA-C5C1-4376-8F00-B11A7FE1AC81}" type="presOf" srcId="{3B856125-B30D-4676-AD97-B372E4E2A430}" destId="{3F02C9F8-EA49-475A-BF24-2EA59E4BC0FE}" srcOrd="0" destOrd="0" presId="urn:microsoft.com/office/officeart/2005/8/layout/hierarchy4"/>
    <dgm:cxn modelId="{9BBC22EB-4173-4554-9546-E0DBE0450174}" srcId="{92468619-2E5C-4DA3-829A-1EAD77976778}" destId="{EAB54FB5-3F88-4B1C-A443-DB8754C7069B}" srcOrd="0" destOrd="0" parTransId="{E187249D-03A8-4597-84F3-251B45777F3D}" sibTransId="{B5A1C2DB-75F6-450B-987F-158CC25B82B8}"/>
    <dgm:cxn modelId="{851630E0-19E8-46B8-843C-BB4205396942}" type="presParOf" srcId="{182C0FBA-54B2-4EF1-8CE9-B52D99A4789F}" destId="{426F1780-A010-475B-8DFD-90DC2E295084}" srcOrd="0" destOrd="0" presId="urn:microsoft.com/office/officeart/2005/8/layout/hierarchy4"/>
    <dgm:cxn modelId="{C65A5358-89EE-42A3-BD4B-28BF7D52AF78}" type="presParOf" srcId="{426F1780-A010-475B-8DFD-90DC2E295084}" destId="{B7B08494-735B-466A-842D-DF9BFA3521AD}" srcOrd="0" destOrd="0" presId="urn:microsoft.com/office/officeart/2005/8/layout/hierarchy4"/>
    <dgm:cxn modelId="{A571A9AF-1CDD-4DF2-847D-082B437A305D}" type="presParOf" srcId="{426F1780-A010-475B-8DFD-90DC2E295084}" destId="{2CEE4DF6-1130-4161-B0AF-AD5BE5420ADF}" srcOrd="1" destOrd="0" presId="urn:microsoft.com/office/officeart/2005/8/layout/hierarchy4"/>
    <dgm:cxn modelId="{F05B3A0D-1DEC-4A90-8F42-07E1ABD8FE39}" type="presParOf" srcId="{426F1780-A010-475B-8DFD-90DC2E295084}" destId="{C4C63BA3-D7D8-473B-87A6-AA919FAA0EAA}" srcOrd="2" destOrd="0" presId="urn:microsoft.com/office/officeart/2005/8/layout/hierarchy4"/>
    <dgm:cxn modelId="{5F4E31D3-45DC-476D-933D-06ECA3DFE47A}" type="presParOf" srcId="{C4C63BA3-D7D8-473B-87A6-AA919FAA0EAA}" destId="{B3D79993-1C78-40DD-9178-D003FEA2C14D}" srcOrd="0" destOrd="0" presId="urn:microsoft.com/office/officeart/2005/8/layout/hierarchy4"/>
    <dgm:cxn modelId="{BF9427C5-6E9A-418D-AE16-8B2A096A7152}" type="presParOf" srcId="{B3D79993-1C78-40DD-9178-D003FEA2C14D}" destId="{DA5331A6-DCEB-4751-9FEF-75DF76ED7A9F}" srcOrd="0" destOrd="0" presId="urn:microsoft.com/office/officeart/2005/8/layout/hierarchy4"/>
    <dgm:cxn modelId="{8A00A50E-7EBB-4127-B992-12A5BF5C7572}" type="presParOf" srcId="{B3D79993-1C78-40DD-9178-D003FEA2C14D}" destId="{6B14AFE1-A6E8-4997-93B5-EF1A0C25A7E3}" srcOrd="1" destOrd="0" presId="urn:microsoft.com/office/officeart/2005/8/layout/hierarchy4"/>
    <dgm:cxn modelId="{1ADB8925-DD4D-4A21-BE7A-C616EC9B7E18}" type="presParOf" srcId="{B3D79993-1C78-40DD-9178-D003FEA2C14D}" destId="{5E1C0694-BE26-4D6F-AD05-931FC983A477}" srcOrd="2" destOrd="0" presId="urn:microsoft.com/office/officeart/2005/8/layout/hierarchy4"/>
    <dgm:cxn modelId="{05CCFED7-D0B8-4C07-8CC4-74143A337C6F}" type="presParOf" srcId="{5E1C0694-BE26-4D6F-AD05-931FC983A477}" destId="{2974AD5F-7187-4ED5-BE92-BA5C6473500A}" srcOrd="0" destOrd="0" presId="urn:microsoft.com/office/officeart/2005/8/layout/hierarchy4"/>
    <dgm:cxn modelId="{3BE62DA6-3328-4E40-B9A0-67D2CAF49B66}" type="presParOf" srcId="{2974AD5F-7187-4ED5-BE92-BA5C6473500A}" destId="{9C928FEA-A4AC-4FC9-AF72-80429CE4D843}" srcOrd="0" destOrd="0" presId="urn:microsoft.com/office/officeart/2005/8/layout/hierarchy4"/>
    <dgm:cxn modelId="{77E55604-C8F4-4DC2-9571-BA4A84C171AD}" type="presParOf" srcId="{2974AD5F-7187-4ED5-BE92-BA5C6473500A}" destId="{4CF5AE16-6EE8-4783-AB3B-CDA50B2989BD}" srcOrd="1" destOrd="0" presId="urn:microsoft.com/office/officeart/2005/8/layout/hierarchy4"/>
    <dgm:cxn modelId="{A6BA5D7F-607D-4DB3-A39C-E7FB92929EE3}" type="presParOf" srcId="{2974AD5F-7187-4ED5-BE92-BA5C6473500A}" destId="{9A40DA42-EF12-4635-96EC-B20174122A15}" srcOrd="2" destOrd="0" presId="urn:microsoft.com/office/officeart/2005/8/layout/hierarchy4"/>
    <dgm:cxn modelId="{B9CC544F-EA13-4BE5-B883-1BC99B22F926}" type="presParOf" srcId="{9A40DA42-EF12-4635-96EC-B20174122A15}" destId="{ECECCE20-B42C-45C5-A935-33C4D8434623}" srcOrd="0" destOrd="0" presId="urn:microsoft.com/office/officeart/2005/8/layout/hierarchy4"/>
    <dgm:cxn modelId="{7D545FB0-ED7E-40D9-A450-270BC472E097}" type="presParOf" srcId="{ECECCE20-B42C-45C5-A935-33C4D8434623}" destId="{647B045C-CD47-4538-81BC-D81BFCCBCFA5}" srcOrd="0" destOrd="0" presId="urn:microsoft.com/office/officeart/2005/8/layout/hierarchy4"/>
    <dgm:cxn modelId="{3DD97A6D-BFF6-468B-9394-92F0DB28AD80}" type="presParOf" srcId="{ECECCE20-B42C-45C5-A935-33C4D8434623}" destId="{B2572BA5-3759-488F-84E8-E93D30241118}" srcOrd="1" destOrd="0" presId="urn:microsoft.com/office/officeart/2005/8/layout/hierarchy4"/>
    <dgm:cxn modelId="{CCAC5A03-6072-412D-ABA6-CF803F18DA27}" type="presParOf" srcId="{ECECCE20-B42C-45C5-A935-33C4D8434623}" destId="{BDBEE72C-9AF8-4628-9C68-0D2D10EE4B9B}" srcOrd="2" destOrd="0" presId="urn:microsoft.com/office/officeart/2005/8/layout/hierarchy4"/>
    <dgm:cxn modelId="{946EC395-CEBC-4D6C-A8E5-5655169668B8}" type="presParOf" srcId="{BDBEE72C-9AF8-4628-9C68-0D2D10EE4B9B}" destId="{FD2E592D-A19E-4E57-B053-50DB87FAE8DA}" srcOrd="0" destOrd="0" presId="urn:microsoft.com/office/officeart/2005/8/layout/hierarchy4"/>
    <dgm:cxn modelId="{3CE8413F-F980-4C20-8C4B-9B160DED8D29}" type="presParOf" srcId="{FD2E592D-A19E-4E57-B053-50DB87FAE8DA}" destId="{3F02C9F8-EA49-475A-BF24-2EA59E4BC0FE}" srcOrd="0" destOrd="0" presId="urn:microsoft.com/office/officeart/2005/8/layout/hierarchy4"/>
    <dgm:cxn modelId="{84DB88B4-E878-4662-AA0D-2A8F5E48A0F7}" type="presParOf" srcId="{FD2E592D-A19E-4E57-B053-50DB87FAE8DA}" destId="{410EEE90-4FDF-4A2E-8621-6744A7B205E7}" srcOrd="1" destOrd="0" presId="urn:microsoft.com/office/officeart/2005/8/layout/hierarchy4"/>
    <dgm:cxn modelId="{592DCBBA-81A7-461A-A556-EE9279C4BFF7}" type="presParOf" srcId="{FD2E592D-A19E-4E57-B053-50DB87FAE8DA}" destId="{A48CAFA1-61F8-4FD5-B56B-DE8349EC3968}" srcOrd="2" destOrd="0" presId="urn:microsoft.com/office/officeart/2005/8/layout/hierarchy4"/>
    <dgm:cxn modelId="{D72BF108-35B2-41DC-932B-AC8721E68197}" type="presParOf" srcId="{A48CAFA1-61F8-4FD5-B56B-DE8349EC3968}" destId="{441A739E-3219-414F-B56E-E44D6026B38F}" srcOrd="0" destOrd="0" presId="urn:microsoft.com/office/officeart/2005/8/layout/hierarchy4"/>
    <dgm:cxn modelId="{F05C291C-9658-4C66-9F7D-48F90B4C6D5B}" type="presParOf" srcId="{441A739E-3219-414F-B56E-E44D6026B38F}" destId="{79BB7786-005E-48A1-B65A-8AB6338DB0C1}" srcOrd="0" destOrd="0" presId="urn:microsoft.com/office/officeart/2005/8/layout/hierarchy4"/>
    <dgm:cxn modelId="{2C2BE1F6-7450-44A8-9BF8-49B4BDE3E85F}" type="presParOf" srcId="{441A739E-3219-414F-B56E-E44D6026B38F}" destId="{86777A81-3506-4920-A1ED-B6F73A966C69}" srcOrd="1" destOrd="0" presId="urn:microsoft.com/office/officeart/2005/8/layout/hierarchy4"/>
    <dgm:cxn modelId="{9F6AF68E-6BCE-4E00-B0D5-EA74AC2CADC5}" type="presParOf" srcId="{441A739E-3219-414F-B56E-E44D6026B38F}" destId="{C04BF62F-6F8D-4C96-B32E-39C363A11A0F}" srcOrd="2" destOrd="0" presId="urn:microsoft.com/office/officeart/2005/8/layout/hierarchy4"/>
    <dgm:cxn modelId="{3F1C073B-470F-4AED-BB52-66FEF4427DB7}" type="presParOf" srcId="{C04BF62F-6F8D-4C96-B32E-39C363A11A0F}" destId="{9277FE82-657C-42E9-A407-5EF9B50F5361}" srcOrd="0" destOrd="0" presId="urn:microsoft.com/office/officeart/2005/8/layout/hierarchy4"/>
    <dgm:cxn modelId="{BBD9268F-FB37-4D1C-A29F-C3655C5B060C}" type="presParOf" srcId="{9277FE82-657C-42E9-A407-5EF9B50F5361}" destId="{53987E47-B92C-42A6-9C02-78585B4A9C93}" srcOrd="0" destOrd="0" presId="urn:microsoft.com/office/officeart/2005/8/layout/hierarchy4"/>
    <dgm:cxn modelId="{482A9D66-8142-4C51-B5D1-76285FE18D96}" type="presParOf" srcId="{9277FE82-657C-42E9-A407-5EF9B50F5361}" destId="{D3ABF014-E17B-4DCA-B7D8-E86531C5A847}" srcOrd="1" destOrd="0" presId="urn:microsoft.com/office/officeart/2005/8/layout/hierarchy4"/>
    <dgm:cxn modelId="{7779E21C-3D89-4E87-AC39-EBDA6A7E5E34}" type="presParOf" srcId="{9277FE82-657C-42E9-A407-5EF9B50F5361}" destId="{1010862F-B9F6-4891-98ED-5A854ABE73AC}" srcOrd="2" destOrd="0" presId="urn:microsoft.com/office/officeart/2005/8/layout/hierarchy4"/>
    <dgm:cxn modelId="{83B4AA8B-D4A8-4B0E-B646-64AA61807CC7}" type="presParOf" srcId="{1010862F-B9F6-4891-98ED-5A854ABE73AC}" destId="{C6455D91-BF03-4194-AA61-B14725FF98B8}" srcOrd="0" destOrd="0" presId="urn:microsoft.com/office/officeart/2005/8/layout/hierarchy4"/>
    <dgm:cxn modelId="{018A1A9A-5FA9-42AF-B851-D73DF5709D95}" type="presParOf" srcId="{C6455D91-BF03-4194-AA61-B14725FF98B8}" destId="{DB13E5F7-9740-4C27-8FB1-678B916C7D72}" srcOrd="0" destOrd="0" presId="urn:microsoft.com/office/officeart/2005/8/layout/hierarchy4"/>
    <dgm:cxn modelId="{9CFAEB38-CF7F-4466-8409-87A8233360F1}" type="presParOf" srcId="{C6455D91-BF03-4194-AA61-B14725FF98B8}" destId="{0D4A68DB-6231-452B-9C4E-FFA19E700A7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2468619-2E5C-4DA3-829A-1EAD77976778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AB54FB5-3F88-4B1C-A443-DB8754C7069B}">
      <dgm:prSet phldrT="[Text]" custT="1"/>
      <dgm:spPr>
        <a:solidFill>
          <a:srgbClr val="243782"/>
        </a:solidFill>
      </dgm:spPr>
      <dgm:t>
        <a:bodyPr/>
        <a:lstStyle/>
        <a:p>
          <a:r>
            <a:rPr lang="en-US" sz="1800" b="1">
              <a:latin typeface="Arial (Headings)"/>
            </a:rPr>
            <a:t>Check</a:t>
          </a:r>
        </a:p>
      </dgm:t>
    </dgm:pt>
    <dgm:pt modelId="{E187249D-03A8-4597-84F3-251B45777F3D}" type="parTrans" cxnId="{9BBC22EB-4173-4554-9546-E0DBE0450174}">
      <dgm:prSet/>
      <dgm:spPr/>
      <dgm:t>
        <a:bodyPr/>
        <a:lstStyle/>
        <a:p>
          <a:endParaRPr lang="en-US"/>
        </a:p>
      </dgm:t>
    </dgm:pt>
    <dgm:pt modelId="{B5A1C2DB-75F6-450B-987F-158CC25B82B8}" type="sibTrans" cxnId="{9BBC22EB-4173-4554-9546-E0DBE0450174}">
      <dgm:prSet/>
      <dgm:spPr/>
      <dgm:t>
        <a:bodyPr/>
        <a:lstStyle/>
        <a:p>
          <a:endParaRPr lang="en-US"/>
        </a:p>
      </dgm:t>
    </dgm:pt>
    <dgm:pt modelId="{F2839EC6-C55D-4A6F-B2B9-9A2E48B4EDDE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AC9AAB9-9361-48A1-9199-AC9FAF6B7ECF}" type="parTrans" cxnId="{8D986FBB-F430-492B-BF9B-549B05AC9831}">
      <dgm:prSet/>
      <dgm:spPr/>
      <dgm:t>
        <a:bodyPr/>
        <a:lstStyle/>
        <a:p>
          <a:endParaRPr lang="en-US"/>
        </a:p>
      </dgm:t>
    </dgm:pt>
    <dgm:pt modelId="{8EB9D79A-91AC-49EC-A6BB-327621C2BE18}" type="sibTrans" cxnId="{8D986FBB-F430-492B-BF9B-549B05AC9831}">
      <dgm:prSet/>
      <dgm:spPr/>
      <dgm:t>
        <a:bodyPr/>
        <a:lstStyle/>
        <a:p>
          <a:endParaRPr lang="en-US"/>
        </a:p>
      </dgm:t>
    </dgm:pt>
    <dgm:pt modelId="{6B6CD9C5-3FE4-43B6-8F6B-E9542E5E69EA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4F4269A-422B-4A5E-9282-C68201E64B2D}" type="parTrans" cxnId="{27C2EE58-DCA2-4069-BBC7-4146C98AB001}">
      <dgm:prSet/>
      <dgm:spPr/>
      <dgm:t>
        <a:bodyPr/>
        <a:lstStyle/>
        <a:p>
          <a:endParaRPr lang="en-US"/>
        </a:p>
      </dgm:t>
    </dgm:pt>
    <dgm:pt modelId="{862EA37B-8951-4C5A-8F81-22F867CCC2CD}" type="sibTrans" cxnId="{27C2EE58-DCA2-4069-BBC7-4146C98AB001}">
      <dgm:prSet/>
      <dgm:spPr/>
      <dgm:t>
        <a:bodyPr/>
        <a:lstStyle/>
        <a:p>
          <a:endParaRPr lang="en-US"/>
        </a:p>
      </dgm:t>
    </dgm:pt>
    <dgm:pt modelId="{835BF481-208F-4897-88F6-A647D3EDF68B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6450BB0-1593-486E-81C2-12C4F5B93832}" type="parTrans" cxnId="{52285425-C76B-4A17-B0CA-445E2BE8C3FF}">
      <dgm:prSet/>
      <dgm:spPr/>
      <dgm:t>
        <a:bodyPr/>
        <a:lstStyle/>
        <a:p>
          <a:endParaRPr lang="en-US"/>
        </a:p>
      </dgm:t>
    </dgm:pt>
    <dgm:pt modelId="{CC181DBD-9233-4E41-9171-0EEA0B3E0DD4}" type="sibTrans" cxnId="{52285425-C76B-4A17-B0CA-445E2BE8C3FF}">
      <dgm:prSet/>
      <dgm:spPr/>
      <dgm:t>
        <a:bodyPr/>
        <a:lstStyle/>
        <a:p>
          <a:endParaRPr lang="en-US"/>
        </a:p>
      </dgm:t>
    </dgm:pt>
    <dgm:pt modelId="{7A86F8B8-22CD-4E1A-852B-4762696A480E}">
      <dgm:prSet custT="1"/>
      <dgm:spPr>
        <a:solidFill>
          <a:srgbClr val="F2F2F2"/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9C9B300-7934-40D3-8FF3-90469B48F791}" type="parTrans" cxnId="{A6EEE87A-EAE3-4E11-8E7C-3CC12F384BF5}">
      <dgm:prSet/>
      <dgm:spPr/>
      <dgm:t>
        <a:bodyPr/>
        <a:lstStyle/>
        <a:p>
          <a:endParaRPr lang="en-US"/>
        </a:p>
      </dgm:t>
    </dgm:pt>
    <dgm:pt modelId="{E946ACE4-6F65-4397-9A66-60A4522B54B5}" type="sibTrans" cxnId="{A6EEE87A-EAE3-4E11-8E7C-3CC12F384BF5}">
      <dgm:prSet/>
      <dgm:spPr/>
      <dgm:t>
        <a:bodyPr/>
        <a:lstStyle/>
        <a:p>
          <a:endParaRPr lang="en-US"/>
        </a:p>
      </dgm:t>
    </dgm:pt>
    <dgm:pt modelId="{3598FDAC-DA07-42E4-AF69-872B801454DC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7E81BA4-6469-4DE2-B4FA-8E773DA836E8}" type="parTrans" cxnId="{CF723F31-8DDC-4A04-A268-D7C5E8D7CAC1}">
      <dgm:prSet/>
      <dgm:spPr/>
      <dgm:t>
        <a:bodyPr/>
        <a:lstStyle/>
        <a:p>
          <a:endParaRPr lang="en-US"/>
        </a:p>
      </dgm:t>
    </dgm:pt>
    <dgm:pt modelId="{F95CEA24-564D-428B-890F-8105B274458F}" type="sibTrans" cxnId="{CF723F31-8DDC-4A04-A268-D7C5E8D7CAC1}">
      <dgm:prSet/>
      <dgm:spPr/>
      <dgm:t>
        <a:bodyPr/>
        <a:lstStyle/>
        <a:p>
          <a:endParaRPr lang="en-US"/>
        </a:p>
      </dgm:t>
    </dgm:pt>
    <dgm:pt modelId="{3D811E13-BCA8-410B-92A6-A7A1B0AE79EB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2F6BC5-7043-48F8-B19F-8C5B8CE9BBB0}" type="parTrans" cxnId="{69F788A1-6501-43D2-91BC-81E365D0DB94}">
      <dgm:prSet/>
      <dgm:spPr/>
      <dgm:t>
        <a:bodyPr/>
        <a:lstStyle/>
        <a:p>
          <a:endParaRPr lang="en-US"/>
        </a:p>
      </dgm:t>
    </dgm:pt>
    <dgm:pt modelId="{D0BE0103-0560-480F-9F6A-9356D2942FF7}" type="sibTrans" cxnId="{69F788A1-6501-43D2-91BC-81E365D0DB94}">
      <dgm:prSet/>
      <dgm:spPr/>
      <dgm:t>
        <a:bodyPr/>
        <a:lstStyle/>
        <a:p>
          <a:endParaRPr lang="en-US"/>
        </a:p>
      </dgm:t>
    </dgm:pt>
    <dgm:pt modelId="{065FC31B-79FB-4CBF-954C-A2FBDD64388D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endParaRPr lang="en-US" sz="18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3F21A6-BACC-4F39-B684-7AA4701E7340}" type="parTrans" cxnId="{26B23D54-3527-41F4-8300-10B99C0DC910}">
      <dgm:prSet/>
      <dgm:spPr/>
      <dgm:t>
        <a:bodyPr/>
        <a:lstStyle/>
        <a:p>
          <a:endParaRPr lang="en-US"/>
        </a:p>
      </dgm:t>
    </dgm:pt>
    <dgm:pt modelId="{388C5DC4-44BB-4651-A3DC-BFCC09CB0BF5}" type="sibTrans" cxnId="{26B23D54-3527-41F4-8300-10B99C0DC910}">
      <dgm:prSet/>
      <dgm:spPr/>
      <dgm:t>
        <a:bodyPr/>
        <a:lstStyle/>
        <a:p>
          <a:endParaRPr lang="en-US"/>
        </a:p>
      </dgm:t>
    </dgm:pt>
    <dgm:pt modelId="{182C0FBA-54B2-4EF1-8CE9-B52D99A4789F}" type="pres">
      <dgm:prSet presAssocID="{92468619-2E5C-4DA3-829A-1EAD77976778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26F1780-A010-475B-8DFD-90DC2E295084}" type="pres">
      <dgm:prSet presAssocID="{EAB54FB5-3F88-4B1C-A443-DB8754C7069B}" presName="vertOne" presStyleCnt="0"/>
      <dgm:spPr/>
    </dgm:pt>
    <dgm:pt modelId="{B7B08494-735B-466A-842D-DF9BFA3521AD}" type="pres">
      <dgm:prSet presAssocID="{EAB54FB5-3F88-4B1C-A443-DB8754C7069B}" presName="txOne" presStyleLbl="node0" presStyleIdx="0" presStyleCnt="1">
        <dgm:presLayoutVars>
          <dgm:chPref val="3"/>
        </dgm:presLayoutVars>
      </dgm:prSet>
      <dgm:spPr/>
    </dgm:pt>
    <dgm:pt modelId="{6231D267-F8F5-4793-8E94-DD239FA3ECB1}" type="pres">
      <dgm:prSet presAssocID="{EAB54FB5-3F88-4B1C-A443-DB8754C7069B}" presName="parTransOne" presStyleCnt="0"/>
      <dgm:spPr/>
    </dgm:pt>
    <dgm:pt modelId="{C4C63BA3-D7D8-473B-87A6-AA919FAA0EAA}" type="pres">
      <dgm:prSet presAssocID="{EAB54FB5-3F88-4B1C-A443-DB8754C7069B}" presName="horzOne" presStyleCnt="0"/>
      <dgm:spPr/>
    </dgm:pt>
    <dgm:pt modelId="{55FB29BB-41D0-49AC-B299-EC8ADF253820}" type="pres">
      <dgm:prSet presAssocID="{835BF481-208F-4897-88F6-A647D3EDF68B}" presName="vertTwo" presStyleCnt="0"/>
      <dgm:spPr/>
    </dgm:pt>
    <dgm:pt modelId="{ABD9DF18-2ABF-45AA-B7C8-1B3DEF1CB756}" type="pres">
      <dgm:prSet presAssocID="{835BF481-208F-4897-88F6-A647D3EDF68B}" presName="txTwo" presStyleLbl="node2" presStyleIdx="0" presStyleCnt="1">
        <dgm:presLayoutVars>
          <dgm:chPref val="3"/>
        </dgm:presLayoutVars>
      </dgm:prSet>
      <dgm:spPr/>
    </dgm:pt>
    <dgm:pt modelId="{FB2D0E62-E63F-4AF8-83A5-34D3202DD013}" type="pres">
      <dgm:prSet presAssocID="{835BF481-208F-4897-88F6-A647D3EDF68B}" presName="parTransTwo" presStyleCnt="0"/>
      <dgm:spPr/>
    </dgm:pt>
    <dgm:pt modelId="{2DBE0F55-EA2A-4D94-82F1-AC1B1414D417}" type="pres">
      <dgm:prSet presAssocID="{835BF481-208F-4897-88F6-A647D3EDF68B}" presName="horzTwo" presStyleCnt="0"/>
      <dgm:spPr/>
    </dgm:pt>
    <dgm:pt modelId="{429C0D6C-93CB-4D3E-81BD-C49D236C8E04}" type="pres">
      <dgm:prSet presAssocID="{6B6CD9C5-3FE4-43B6-8F6B-E9542E5E69EA}" presName="vertThree" presStyleCnt="0"/>
      <dgm:spPr/>
    </dgm:pt>
    <dgm:pt modelId="{4C603DB0-E501-417F-9308-54BEB419FCB9}" type="pres">
      <dgm:prSet presAssocID="{6B6CD9C5-3FE4-43B6-8F6B-E9542E5E69EA}" presName="txThree" presStyleLbl="node3" presStyleIdx="0" presStyleCnt="1">
        <dgm:presLayoutVars>
          <dgm:chPref val="3"/>
        </dgm:presLayoutVars>
      </dgm:prSet>
      <dgm:spPr/>
    </dgm:pt>
    <dgm:pt modelId="{924A6312-5500-43C0-801E-F204F1AC4388}" type="pres">
      <dgm:prSet presAssocID="{6B6CD9C5-3FE4-43B6-8F6B-E9542E5E69EA}" presName="parTransThree" presStyleCnt="0"/>
      <dgm:spPr/>
    </dgm:pt>
    <dgm:pt modelId="{1B7D9600-793E-495C-921F-BBDFC9B912BC}" type="pres">
      <dgm:prSet presAssocID="{6B6CD9C5-3FE4-43B6-8F6B-E9542E5E69EA}" presName="horzThree" presStyleCnt="0"/>
      <dgm:spPr/>
    </dgm:pt>
    <dgm:pt modelId="{65DA8E9A-3B1A-4880-9AA8-5119FA8174AB}" type="pres">
      <dgm:prSet presAssocID="{7A86F8B8-22CD-4E1A-852B-4762696A480E}" presName="vertFour" presStyleCnt="0">
        <dgm:presLayoutVars>
          <dgm:chPref val="3"/>
        </dgm:presLayoutVars>
      </dgm:prSet>
      <dgm:spPr/>
    </dgm:pt>
    <dgm:pt modelId="{9C117668-9D27-4B1B-B835-27EFC59E80D4}" type="pres">
      <dgm:prSet presAssocID="{7A86F8B8-22CD-4E1A-852B-4762696A480E}" presName="txFour" presStyleLbl="node4" presStyleIdx="0" presStyleCnt="5">
        <dgm:presLayoutVars>
          <dgm:chPref val="3"/>
        </dgm:presLayoutVars>
      </dgm:prSet>
      <dgm:spPr/>
    </dgm:pt>
    <dgm:pt modelId="{FC1A92B4-C6A7-444F-B19D-792F793163FA}" type="pres">
      <dgm:prSet presAssocID="{7A86F8B8-22CD-4E1A-852B-4762696A480E}" presName="parTransFour" presStyleCnt="0"/>
      <dgm:spPr/>
    </dgm:pt>
    <dgm:pt modelId="{68B49F92-7E41-4108-8A35-1E041C849D59}" type="pres">
      <dgm:prSet presAssocID="{7A86F8B8-22CD-4E1A-852B-4762696A480E}" presName="horzFour" presStyleCnt="0"/>
      <dgm:spPr/>
    </dgm:pt>
    <dgm:pt modelId="{312C5FA1-C8A6-44CB-921D-04B488ADA52B}" type="pres">
      <dgm:prSet presAssocID="{3598FDAC-DA07-42E4-AF69-872B801454DC}" presName="vertFour" presStyleCnt="0">
        <dgm:presLayoutVars>
          <dgm:chPref val="3"/>
        </dgm:presLayoutVars>
      </dgm:prSet>
      <dgm:spPr/>
    </dgm:pt>
    <dgm:pt modelId="{46E60340-0191-4A17-ADEA-C322584FCF66}" type="pres">
      <dgm:prSet presAssocID="{3598FDAC-DA07-42E4-AF69-872B801454DC}" presName="txFour" presStyleLbl="node4" presStyleIdx="1" presStyleCnt="5">
        <dgm:presLayoutVars>
          <dgm:chPref val="3"/>
        </dgm:presLayoutVars>
      </dgm:prSet>
      <dgm:spPr/>
    </dgm:pt>
    <dgm:pt modelId="{193ADCCB-6D16-45D7-883C-FE74081E174C}" type="pres">
      <dgm:prSet presAssocID="{3598FDAC-DA07-42E4-AF69-872B801454DC}" presName="parTransFour" presStyleCnt="0"/>
      <dgm:spPr/>
    </dgm:pt>
    <dgm:pt modelId="{58111803-AC5D-44DB-81D9-660677BB5487}" type="pres">
      <dgm:prSet presAssocID="{3598FDAC-DA07-42E4-AF69-872B801454DC}" presName="horzFour" presStyleCnt="0"/>
      <dgm:spPr/>
    </dgm:pt>
    <dgm:pt modelId="{F3AF4B5D-C7D2-4014-970F-74B2953156CA}" type="pres">
      <dgm:prSet presAssocID="{3D811E13-BCA8-410B-92A6-A7A1B0AE79EB}" presName="vertFour" presStyleCnt="0">
        <dgm:presLayoutVars>
          <dgm:chPref val="3"/>
        </dgm:presLayoutVars>
      </dgm:prSet>
      <dgm:spPr/>
    </dgm:pt>
    <dgm:pt modelId="{02047D82-4E48-47F9-B3A4-7A4FF64BDE2F}" type="pres">
      <dgm:prSet presAssocID="{3D811E13-BCA8-410B-92A6-A7A1B0AE79EB}" presName="txFour" presStyleLbl="node4" presStyleIdx="2" presStyleCnt="5">
        <dgm:presLayoutVars>
          <dgm:chPref val="3"/>
        </dgm:presLayoutVars>
      </dgm:prSet>
      <dgm:spPr/>
    </dgm:pt>
    <dgm:pt modelId="{752224E4-8EC1-40DA-9F58-FFFE0AA94133}" type="pres">
      <dgm:prSet presAssocID="{3D811E13-BCA8-410B-92A6-A7A1B0AE79EB}" presName="parTransFour" presStyleCnt="0"/>
      <dgm:spPr/>
    </dgm:pt>
    <dgm:pt modelId="{B319EDEE-6D63-4CCF-9482-0CB98798F3B1}" type="pres">
      <dgm:prSet presAssocID="{3D811E13-BCA8-410B-92A6-A7A1B0AE79EB}" presName="horzFour" presStyleCnt="0"/>
      <dgm:spPr/>
    </dgm:pt>
    <dgm:pt modelId="{B43ED0A7-4853-4B4B-A2E5-64CFC550270C}" type="pres">
      <dgm:prSet presAssocID="{065FC31B-79FB-4CBF-954C-A2FBDD64388D}" presName="vertFour" presStyleCnt="0">
        <dgm:presLayoutVars>
          <dgm:chPref val="3"/>
        </dgm:presLayoutVars>
      </dgm:prSet>
      <dgm:spPr/>
    </dgm:pt>
    <dgm:pt modelId="{3F0BB1E3-32B9-48A7-B919-F017CF944891}" type="pres">
      <dgm:prSet presAssocID="{065FC31B-79FB-4CBF-954C-A2FBDD64388D}" presName="txFour" presStyleLbl="node4" presStyleIdx="3" presStyleCnt="5">
        <dgm:presLayoutVars>
          <dgm:chPref val="3"/>
        </dgm:presLayoutVars>
      </dgm:prSet>
      <dgm:spPr/>
    </dgm:pt>
    <dgm:pt modelId="{879E7C66-FBCF-4E88-A293-7E1E63AA5124}" type="pres">
      <dgm:prSet presAssocID="{065FC31B-79FB-4CBF-954C-A2FBDD64388D}" presName="parTransFour" presStyleCnt="0"/>
      <dgm:spPr/>
    </dgm:pt>
    <dgm:pt modelId="{C1C35477-2047-4AD0-978D-CBA1EDF08BAC}" type="pres">
      <dgm:prSet presAssocID="{065FC31B-79FB-4CBF-954C-A2FBDD64388D}" presName="horzFour" presStyleCnt="0"/>
      <dgm:spPr/>
    </dgm:pt>
    <dgm:pt modelId="{7B04C1E1-8BE0-4141-9EE8-2527BDA8EC61}" type="pres">
      <dgm:prSet presAssocID="{F2839EC6-C55D-4A6F-B2B9-9A2E48B4EDDE}" presName="vertFour" presStyleCnt="0">
        <dgm:presLayoutVars>
          <dgm:chPref val="3"/>
        </dgm:presLayoutVars>
      </dgm:prSet>
      <dgm:spPr/>
    </dgm:pt>
    <dgm:pt modelId="{E22D5F6F-EB31-4794-995A-B447CFDFC19C}" type="pres">
      <dgm:prSet presAssocID="{F2839EC6-C55D-4A6F-B2B9-9A2E48B4EDDE}" presName="txFour" presStyleLbl="node4" presStyleIdx="4" presStyleCnt="5">
        <dgm:presLayoutVars>
          <dgm:chPref val="3"/>
        </dgm:presLayoutVars>
      </dgm:prSet>
      <dgm:spPr/>
    </dgm:pt>
    <dgm:pt modelId="{1C5B63B3-331F-4E7A-B79B-0CE2F310CAFE}" type="pres">
      <dgm:prSet presAssocID="{F2839EC6-C55D-4A6F-B2B9-9A2E48B4EDDE}" presName="horzFour" presStyleCnt="0"/>
      <dgm:spPr/>
    </dgm:pt>
  </dgm:ptLst>
  <dgm:cxnLst>
    <dgm:cxn modelId="{41FF9900-DDD1-4816-AC15-202F8D77BA21}" type="presOf" srcId="{065FC31B-79FB-4CBF-954C-A2FBDD64388D}" destId="{3F0BB1E3-32B9-48A7-B919-F017CF944891}" srcOrd="0" destOrd="0" presId="urn:microsoft.com/office/officeart/2005/8/layout/hierarchy4"/>
    <dgm:cxn modelId="{52285425-C76B-4A17-B0CA-445E2BE8C3FF}" srcId="{EAB54FB5-3F88-4B1C-A443-DB8754C7069B}" destId="{835BF481-208F-4897-88F6-A647D3EDF68B}" srcOrd="0" destOrd="0" parTransId="{A6450BB0-1593-486E-81C2-12C4F5B93832}" sibTransId="{CC181DBD-9233-4E41-9171-0EEA0B3E0DD4}"/>
    <dgm:cxn modelId="{CF723F31-8DDC-4A04-A268-D7C5E8D7CAC1}" srcId="{7A86F8B8-22CD-4E1A-852B-4762696A480E}" destId="{3598FDAC-DA07-42E4-AF69-872B801454DC}" srcOrd="0" destOrd="0" parTransId="{27E81BA4-6469-4DE2-B4FA-8E773DA836E8}" sibTransId="{F95CEA24-564D-428B-890F-8105B274458F}"/>
    <dgm:cxn modelId="{26B23D54-3527-41F4-8300-10B99C0DC910}" srcId="{3D811E13-BCA8-410B-92A6-A7A1B0AE79EB}" destId="{065FC31B-79FB-4CBF-954C-A2FBDD64388D}" srcOrd="0" destOrd="0" parTransId="{CE3F21A6-BACC-4F39-B684-7AA4701E7340}" sibTransId="{388C5DC4-44BB-4651-A3DC-BFCC09CB0BF5}"/>
    <dgm:cxn modelId="{27C2EE58-DCA2-4069-BBC7-4146C98AB001}" srcId="{835BF481-208F-4897-88F6-A647D3EDF68B}" destId="{6B6CD9C5-3FE4-43B6-8F6B-E9542E5E69EA}" srcOrd="0" destOrd="0" parTransId="{34F4269A-422B-4A5E-9282-C68201E64B2D}" sibTransId="{862EA37B-8951-4C5A-8F81-22F867CCC2CD}"/>
    <dgm:cxn modelId="{A6EEE87A-EAE3-4E11-8E7C-3CC12F384BF5}" srcId="{6B6CD9C5-3FE4-43B6-8F6B-E9542E5E69EA}" destId="{7A86F8B8-22CD-4E1A-852B-4762696A480E}" srcOrd="0" destOrd="0" parTransId="{89C9B300-7934-40D3-8FF3-90469B48F791}" sibTransId="{E946ACE4-6F65-4397-9A66-60A4522B54B5}"/>
    <dgm:cxn modelId="{69F788A1-6501-43D2-91BC-81E365D0DB94}" srcId="{3598FDAC-DA07-42E4-AF69-872B801454DC}" destId="{3D811E13-BCA8-410B-92A6-A7A1B0AE79EB}" srcOrd="0" destOrd="0" parTransId="{F62F6BC5-7043-48F8-B19F-8C5B8CE9BBB0}" sibTransId="{D0BE0103-0560-480F-9F6A-9356D2942FF7}"/>
    <dgm:cxn modelId="{20B1C7AB-26C3-4FB0-A228-6483DD63860C}" type="presOf" srcId="{F2839EC6-C55D-4A6F-B2B9-9A2E48B4EDDE}" destId="{E22D5F6F-EB31-4794-995A-B447CFDFC19C}" srcOrd="0" destOrd="0" presId="urn:microsoft.com/office/officeart/2005/8/layout/hierarchy4"/>
    <dgm:cxn modelId="{238C1CAF-FEC1-46C6-BECD-ED6FA61A77D8}" type="presOf" srcId="{3D811E13-BCA8-410B-92A6-A7A1B0AE79EB}" destId="{02047D82-4E48-47F9-B3A4-7A4FF64BDE2F}" srcOrd="0" destOrd="0" presId="urn:microsoft.com/office/officeart/2005/8/layout/hierarchy4"/>
    <dgm:cxn modelId="{807B0DB1-E32F-4D52-ACBE-93BA40043D0A}" type="presOf" srcId="{7A86F8B8-22CD-4E1A-852B-4762696A480E}" destId="{9C117668-9D27-4B1B-B835-27EFC59E80D4}" srcOrd="0" destOrd="0" presId="urn:microsoft.com/office/officeart/2005/8/layout/hierarchy4"/>
    <dgm:cxn modelId="{8D986FBB-F430-492B-BF9B-549B05AC9831}" srcId="{065FC31B-79FB-4CBF-954C-A2FBDD64388D}" destId="{F2839EC6-C55D-4A6F-B2B9-9A2E48B4EDDE}" srcOrd="0" destOrd="0" parTransId="{6AC9AAB9-9361-48A1-9199-AC9FAF6B7ECF}" sibTransId="{8EB9D79A-91AC-49EC-A6BB-327621C2BE18}"/>
    <dgm:cxn modelId="{22CAFEC5-AFDE-437C-85CB-E4D6A274C165}" type="presOf" srcId="{92468619-2E5C-4DA3-829A-1EAD77976778}" destId="{182C0FBA-54B2-4EF1-8CE9-B52D99A4789F}" srcOrd="0" destOrd="0" presId="urn:microsoft.com/office/officeart/2005/8/layout/hierarchy4"/>
    <dgm:cxn modelId="{C975CAC8-C75A-4F6E-85CD-CC8866D25A29}" type="presOf" srcId="{6B6CD9C5-3FE4-43B6-8F6B-E9542E5E69EA}" destId="{4C603DB0-E501-417F-9308-54BEB419FCB9}" srcOrd="0" destOrd="0" presId="urn:microsoft.com/office/officeart/2005/8/layout/hierarchy4"/>
    <dgm:cxn modelId="{07779BD0-4FB9-4551-80C1-78E43EE92B76}" type="presOf" srcId="{3598FDAC-DA07-42E4-AF69-872B801454DC}" destId="{46E60340-0191-4A17-ADEA-C322584FCF66}" srcOrd="0" destOrd="0" presId="urn:microsoft.com/office/officeart/2005/8/layout/hierarchy4"/>
    <dgm:cxn modelId="{9626D4DC-40E5-436B-9026-2F2D24C0B2DD}" type="presOf" srcId="{EAB54FB5-3F88-4B1C-A443-DB8754C7069B}" destId="{B7B08494-735B-466A-842D-DF9BFA3521AD}" srcOrd="0" destOrd="0" presId="urn:microsoft.com/office/officeart/2005/8/layout/hierarchy4"/>
    <dgm:cxn modelId="{9BBC22EB-4173-4554-9546-E0DBE0450174}" srcId="{92468619-2E5C-4DA3-829A-1EAD77976778}" destId="{EAB54FB5-3F88-4B1C-A443-DB8754C7069B}" srcOrd="0" destOrd="0" parTransId="{E187249D-03A8-4597-84F3-251B45777F3D}" sibTransId="{B5A1C2DB-75F6-450B-987F-158CC25B82B8}"/>
    <dgm:cxn modelId="{21D235FB-BCE9-4155-85B7-F58AFE4FEE4D}" type="presOf" srcId="{835BF481-208F-4897-88F6-A647D3EDF68B}" destId="{ABD9DF18-2ABF-45AA-B7C8-1B3DEF1CB756}" srcOrd="0" destOrd="0" presId="urn:microsoft.com/office/officeart/2005/8/layout/hierarchy4"/>
    <dgm:cxn modelId="{851630E0-19E8-46B8-843C-BB4205396942}" type="presParOf" srcId="{182C0FBA-54B2-4EF1-8CE9-B52D99A4789F}" destId="{426F1780-A010-475B-8DFD-90DC2E295084}" srcOrd="0" destOrd="0" presId="urn:microsoft.com/office/officeart/2005/8/layout/hierarchy4"/>
    <dgm:cxn modelId="{C65A5358-89EE-42A3-BD4B-28BF7D52AF78}" type="presParOf" srcId="{426F1780-A010-475B-8DFD-90DC2E295084}" destId="{B7B08494-735B-466A-842D-DF9BFA3521AD}" srcOrd="0" destOrd="0" presId="urn:microsoft.com/office/officeart/2005/8/layout/hierarchy4"/>
    <dgm:cxn modelId="{2E58972A-B1BC-4055-9EDA-C1F08F5411DA}" type="presParOf" srcId="{426F1780-A010-475B-8DFD-90DC2E295084}" destId="{6231D267-F8F5-4793-8E94-DD239FA3ECB1}" srcOrd="1" destOrd="0" presId="urn:microsoft.com/office/officeart/2005/8/layout/hierarchy4"/>
    <dgm:cxn modelId="{F05B3A0D-1DEC-4A90-8F42-07E1ABD8FE39}" type="presParOf" srcId="{426F1780-A010-475B-8DFD-90DC2E295084}" destId="{C4C63BA3-D7D8-473B-87A6-AA919FAA0EAA}" srcOrd="2" destOrd="0" presId="urn:microsoft.com/office/officeart/2005/8/layout/hierarchy4"/>
    <dgm:cxn modelId="{71056C4C-66C3-4928-84B8-991683A5955D}" type="presParOf" srcId="{C4C63BA3-D7D8-473B-87A6-AA919FAA0EAA}" destId="{55FB29BB-41D0-49AC-B299-EC8ADF253820}" srcOrd="0" destOrd="0" presId="urn:microsoft.com/office/officeart/2005/8/layout/hierarchy4"/>
    <dgm:cxn modelId="{3A404B20-53E1-406F-B64E-4BDF9485A1EA}" type="presParOf" srcId="{55FB29BB-41D0-49AC-B299-EC8ADF253820}" destId="{ABD9DF18-2ABF-45AA-B7C8-1B3DEF1CB756}" srcOrd="0" destOrd="0" presId="urn:microsoft.com/office/officeart/2005/8/layout/hierarchy4"/>
    <dgm:cxn modelId="{AECDEC05-8F3F-42A9-9FCF-4FA91C221720}" type="presParOf" srcId="{55FB29BB-41D0-49AC-B299-EC8ADF253820}" destId="{FB2D0E62-E63F-4AF8-83A5-34D3202DD013}" srcOrd="1" destOrd="0" presId="urn:microsoft.com/office/officeart/2005/8/layout/hierarchy4"/>
    <dgm:cxn modelId="{31234BEF-C281-4FB3-8E96-F874A38D848D}" type="presParOf" srcId="{55FB29BB-41D0-49AC-B299-EC8ADF253820}" destId="{2DBE0F55-EA2A-4D94-82F1-AC1B1414D417}" srcOrd="2" destOrd="0" presId="urn:microsoft.com/office/officeart/2005/8/layout/hierarchy4"/>
    <dgm:cxn modelId="{AE838879-0875-4BF3-84CD-EF2850137695}" type="presParOf" srcId="{2DBE0F55-EA2A-4D94-82F1-AC1B1414D417}" destId="{429C0D6C-93CB-4D3E-81BD-C49D236C8E04}" srcOrd="0" destOrd="0" presId="urn:microsoft.com/office/officeart/2005/8/layout/hierarchy4"/>
    <dgm:cxn modelId="{145BF425-4970-4BC1-92AA-7DF7662644E6}" type="presParOf" srcId="{429C0D6C-93CB-4D3E-81BD-C49D236C8E04}" destId="{4C603DB0-E501-417F-9308-54BEB419FCB9}" srcOrd="0" destOrd="0" presId="urn:microsoft.com/office/officeart/2005/8/layout/hierarchy4"/>
    <dgm:cxn modelId="{964F4CCE-9E85-4102-8B1F-1BE39F0F3D07}" type="presParOf" srcId="{429C0D6C-93CB-4D3E-81BD-C49D236C8E04}" destId="{924A6312-5500-43C0-801E-F204F1AC4388}" srcOrd="1" destOrd="0" presId="urn:microsoft.com/office/officeart/2005/8/layout/hierarchy4"/>
    <dgm:cxn modelId="{23BFDBD7-C908-43C0-8582-F46D33382733}" type="presParOf" srcId="{429C0D6C-93CB-4D3E-81BD-C49D236C8E04}" destId="{1B7D9600-793E-495C-921F-BBDFC9B912BC}" srcOrd="2" destOrd="0" presId="urn:microsoft.com/office/officeart/2005/8/layout/hierarchy4"/>
    <dgm:cxn modelId="{98764B9B-EED5-4FF9-A1D1-36A03FFD6591}" type="presParOf" srcId="{1B7D9600-793E-495C-921F-BBDFC9B912BC}" destId="{65DA8E9A-3B1A-4880-9AA8-5119FA8174AB}" srcOrd="0" destOrd="0" presId="urn:microsoft.com/office/officeart/2005/8/layout/hierarchy4"/>
    <dgm:cxn modelId="{A48C5D9A-5E61-4588-8AF5-979108F03B97}" type="presParOf" srcId="{65DA8E9A-3B1A-4880-9AA8-5119FA8174AB}" destId="{9C117668-9D27-4B1B-B835-27EFC59E80D4}" srcOrd="0" destOrd="0" presId="urn:microsoft.com/office/officeart/2005/8/layout/hierarchy4"/>
    <dgm:cxn modelId="{D9A59747-5AAF-433C-BBD3-0B9030101DF7}" type="presParOf" srcId="{65DA8E9A-3B1A-4880-9AA8-5119FA8174AB}" destId="{FC1A92B4-C6A7-444F-B19D-792F793163FA}" srcOrd="1" destOrd="0" presId="urn:microsoft.com/office/officeart/2005/8/layout/hierarchy4"/>
    <dgm:cxn modelId="{F7E9E82F-38E3-4A9E-A08F-48582BF5FA70}" type="presParOf" srcId="{65DA8E9A-3B1A-4880-9AA8-5119FA8174AB}" destId="{68B49F92-7E41-4108-8A35-1E041C849D59}" srcOrd="2" destOrd="0" presId="urn:microsoft.com/office/officeart/2005/8/layout/hierarchy4"/>
    <dgm:cxn modelId="{2A91D46C-4A5B-4FA0-AC6A-CE3C41DA45C1}" type="presParOf" srcId="{68B49F92-7E41-4108-8A35-1E041C849D59}" destId="{312C5FA1-C8A6-44CB-921D-04B488ADA52B}" srcOrd="0" destOrd="0" presId="urn:microsoft.com/office/officeart/2005/8/layout/hierarchy4"/>
    <dgm:cxn modelId="{59285F3E-0A31-4081-ABBA-B8BF0BED59B6}" type="presParOf" srcId="{312C5FA1-C8A6-44CB-921D-04B488ADA52B}" destId="{46E60340-0191-4A17-ADEA-C322584FCF66}" srcOrd="0" destOrd="0" presId="urn:microsoft.com/office/officeart/2005/8/layout/hierarchy4"/>
    <dgm:cxn modelId="{428C8277-41F3-4B87-ACFE-857AB8A5B2D3}" type="presParOf" srcId="{312C5FA1-C8A6-44CB-921D-04B488ADA52B}" destId="{193ADCCB-6D16-45D7-883C-FE74081E174C}" srcOrd="1" destOrd="0" presId="urn:microsoft.com/office/officeart/2005/8/layout/hierarchy4"/>
    <dgm:cxn modelId="{2E169DF5-5D92-476B-8BA9-208D681CA11E}" type="presParOf" srcId="{312C5FA1-C8A6-44CB-921D-04B488ADA52B}" destId="{58111803-AC5D-44DB-81D9-660677BB5487}" srcOrd="2" destOrd="0" presId="urn:microsoft.com/office/officeart/2005/8/layout/hierarchy4"/>
    <dgm:cxn modelId="{7094D952-784E-4196-A34A-A99FE5658FD5}" type="presParOf" srcId="{58111803-AC5D-44DB-81D9-660677BB5487}" destId="{F3AF4B5D-C7D2-4014-970F-74B2953156CA}" srcOrd="0" destOrd="0" presId="urn:microsoft.com/office/officeart/2005/8/layout/hierarchy4"/>
    <dgm:cxn modelId="{E8F1C361-BECE-436E-A2BE-E2A73BF98248}" type="presParOf" srcId="{F3AF4B5D-C7D2-4014-970F-74B2953156CA}" destId="{02047D82-4E48-47F9-B3A4-7A4FF64BDE2F}" srcOrd="0" destOrd="0" presId="urn:microsoft.com/office/officeart/2005/8/layout/hierarchy4"/>
    <dgm:cxn modelId="{8340AFD1-AA4E-45E6-A3C2-4C2969661032}" type="presParOf" srcId="{F3AF4B5D-C7D2-4014-970F-74B2953156CA}" destId="{752224E4-8EC1-40DA-9F58-FFFE0AA94133}" srcOrd="1" destOrd="0" presId="urn:microsoft.com/office/officeart/2005/8/layout/hierarchy4"/>
    <dgm:cxn modelId="{BADB6798-75AD-4234-AA28-26FBBCEDD258}" type="presParOf" srcId="{F3AF4B5D-C7D2-4014-970F-74B2953156CA}" destId="{B319EDEE-6D63-4CCF-9482-0CB98798F3B1}" srcOrd="2" destOrd="0" presId="urn:microsoft.com/office/officeart/2005/8/layout/hierarchy4"/>
    <dgm:cxn modelId="{2DD25D49-697E-4114-B707-2DEACF0A70A0}" type="presParOf" srcId="{B319EDEE-6D63-4CCF-9482-0CB98798F3B1}" destId="{B43ED0A7-4853-4B4B-A2E5-64CFC550270C}" srcOrd="0" destOrd="0" presId="urn:microsoft.com/office/officeart/2005/8/layout/hierarchy4"/>
    <dgm:cxn modelId="{202463D0-052D-4E32-B59B-3045C5698589}" type="presParOf" srcId="{B43ED0A7-4853-4B4B-A2E5-64CFC550270C}" destId="{3F0BB1E3-32B9-48A7-B919-F017CF944891}" srcOrd="0" destOrd="0" presId="urn:microsoft.com/office/officeart/2005/8/layout/hierarchy4"/>
    <dgm:cxn modelId="{D3BD0DDE-2EC3-4F5E-9B19-29476280C640}" type="presParOf" srcId="{B43ED0A7-4853-4B4B-A2E5-64CFC550270C}" destId="{879E7C66-FBCF-4E88-A293-7E1E63AA5124}" srcOrd="1" destOrd="0" presId="urn:microsoft.com/office/officeart/2005/8/layout/hierarchy4"/>
    <dgm:cxn modelId="{3DD046DE-791C-4BEF-9241-95B81C364ADF}" type="presParOf" srcId="{B43ED0A7-4853-4B4B-A2E5-64CFC550270C}" destId="{C1C35477-2047-4AD0-978D-CBA1EDF08BAC}" srcOrd="2" destOrd="0" presId="urn:microsoft.com/office/officeart/2005/8/layout/hierarchy4"/>
    <dgm:cxn modelId="{5D5932D2-8896-4ADE-8AE6-0F2A6EE0077F}" type="presParOf" srcId="{C1C35477-2047-4AD0-978D-CBA1EDF08BAC}" destId="{7B04C1E1-8BE0-4141-9EE8-2527BDA8EC61}" srcOrd="0" destOrd="0" presId="urn:microsoft.com/office/officeart/2005/8/layout/hierarchy4"/>
    <dgm:cxn modelId="{E07B625C-B296-4206-869C-37F042C6436D}" type="presParOf" srcId="{7B04C1E1-8BE0-4141-9EE8-2527BDA8EC61}" destId="{E22D5F6F-EB31-4794-995A-B447CFDFC19C}" srcOrd="0" destOrd="0" presId="urn:microsoft.com/office/officeart/2005/8/layout/hierarchy4"/>
    <dgm:cxn modelId="{382CFE65-1C22-46D5-BF51-8EFF0059363F}" type="presParOf" srcId="{7B04C1E1-8BE0-4141-9EE8-2527BDA8EC61}" destId="{1C5B63B3-331F-4E7A-B79B-0CE2F310CAFE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B08494-735B-466A-842D-DF9BFA3521AD}">
      <dsp:nvSpPr>
        <dsp:cNvPr id="0" name=""/>
        <dsp:cNvSpPr/>
      </dsp:nvSpPr>
      <dsp:spPr>
        <a:xfrm>
          <a:off x="0" y="0"/>
          <a:ext cx="4949933" cy="564219"/>
        </a:xfrm>
        <a:prstGeom prst="roundRect">
          <a:avLst>
            <a:gd name="adj" fmla="val 10000"/>
          </a:avLst>
        </a:prstGeom>
        <a:solidFill>
          <a:srgbClr val="24378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Arial (Headings)"/>
            </a:rPr>
            <a:t>REVIEW</a:t>
          </a:r>
        </a:p>
      </dsp:txBody>
      <dsp:txXfrm>
        <a:off x="16525" y="16525"/>
        <a:ext cx="4916883" cy="531169"/>
      </dsp:txXfrm>
    </dsp:sp>
    <dsp:sp modelId="{DA5331A6-DCEB-4751-9FEF-75DF76ED7A9F}">
      <dsp:nvSpPr>
        <dsp:cNvPr id="0" name=""/>
        <dsp:cNvSpPr/>
      </dsp:nvSpPr>
      <dsp:spPr>
        <a:xfrm>
          <a:off x="2419" y="597600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Appropriate descriptive subject line</a:t>
          </a:r>
        </a:p>
      </dsp:txBody>
      <dsp:txXfrm>
        <a:off x="18944" y="614125"/>
        <a:ext cx="4916883" cy="531169"/>
      </dsp:txXfrm>
    </dsp:sp>
    <dsp:sp modelId="{9C928FEA-A4AC-4FC9-AF72-80429CE4D843}">
      <dsp:nvSpPr>
        <dsp:cNvPr id="0" name=""/>
        <dsp:cNvSpPr/>
      </dsp:nvSpPr>
      <dsp:spPr>
        <a:xfrm>
          <a:off x="2419" y="1194810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Addressed prospective customers by name</a:t>
          </a:r>
        </a:p>
      </dsp:txBody>
      <dsp:txXfrm>
        <a:off x="18944" y="1211335"/>
        <a:ext cx="4916883" cy="531169"/>
      </dsp:txXfrm>
    </dsp:sp>
    <dsp:sp modelId="{647B045C-CD47-4538-81BC-D81BFCCBCFA5}">
      <dsp:nvSpPr>
        <dsp:cNvPr id="0" name=""/>
        <dsp:cNvSpPr/>
      </dsp:nvSpPr>
      <dsp:spPr>
        <a:xfrm>
          <a:off x="2419" y="1792019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Thanked them for their interest</a:t>
          </a:r>
        </a:p>
      </dsp:txBody>
      <dsp:txXfrm>
        <a:off x="18944" y="1808544"/>
        <a:ext cx="4916883" cy="531169"/>
      </dsp:txXfrm>
    </dsp:sp>
    <dsp:sp modelId="{3F02C9F8-EA49-475A-BF24-2EA59E4BC0FE}">
      <dsp:nvSpPr>
        <dsp:cNvPr id="0" name=""/>
        <dsp:cNvSpPr/>
      </dsp:nvSpPr>
      <dsp:spPr>
        <a:xfrm>
          <a:off x="2419" y="2389228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Introduced yourself (Name, Position, Dealership)</a:t>
          </a:r>
        </a:p>
      </dsp:txBody>
      <dsp:txXfrm>
        <a:off x="18944" y="2405753"/>
        <a:ext cx="4916883" cy="531169"/>
      </dsp:txXfrm>
    </dsp:sp>
    <dsp:sp modelId="{79BB7786-005E-48A1-B65A-8AB6338DB0C1}">
      <dsp:nvSpPr>
        <dsp:cNvPr id="0" name=""/>
        <dsp:cNvSpPr/>
      </dsp:nvSpPr>
      <dsp:spPr>
        <a:xfrm>
          <a:off x="2419" y="2986438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Answered and/or addressed all questions</a:t>
          </a:r>
        </a:p>
      </dsp:txBody>
      <dsp:txXfrm>
        <a:off x="18944" y="3002963"/>
        <a:ext cx="4916883" cy="531169"/>
      </dsp:txXfrm>
    </dsp:sp>
    <dsp:sp modelId="{53987E47-B92C-42A6-9C02-78585B4A9C93}">
      <dsp:nvSpPr>
        <dsp:cNvPr id="0" name=""/>
        <dsp:cNvSpPr/>
      </dsp:nvSpPr>
      <dsp:spPr>
        <a:xfrm>
          <a:off x="2419" y="3583647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Spell and grammar check</a:t>
          </a:r>
        </a:p>
      </dsp:txBody>
      <dsp:txXfrm>
        <a:off x="18944" y="3600172"/>
        <a:ext cx="4916883" cy="531169"/>
      </dsp:txXfrm>
    </dsp:sp>
    <dsp:sp modelId="{DB13E5F7-9740-4C27-8FB1-678B916C7D72}">
      <dsp:nvSpPr>
        <dsp:cNvPr id="0" name=""/>
        <dsp:cNvSpPr/>
      </dsp:nvSpPr>
      <dsp:spPr>
        <a:xfrm>
          <a:off x="2419" y="4180856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Email can be read in 2 – 3 mins</a:t>
          </a:r>
        </a:p>
      </dsp:txBody>
      <dsp:txXfrm>
        <a:off x="18944" y="4197381"/>
        <a:ext cx="4916883" cy="5311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B08494-735B-466A-842D-DF9BFA3521AD}">
      <dsp:nvSpPr>
        <dsp:cNvPr id="0" name=""/>
        <dsp:cNvSpPr/>
      </dsp:nvSpPr>
      <dsp:spPr>
        <a:xfrm>
          <a:off x="1078" y="412"/>
          <a:ext cx="2205872" cy="579860"/>
        </a:xfrm>
        <a:prstGeom prst="roundRect">
          <a:avLst>
            <a:gd name="adj" fmla="val 10000"/>
          </a:avLst>
        </a:prstGeom>
        <a:solidFill>
          <a:srgbClr val="24378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Arial (Headings)"/>
            </a:rPr>
            <a:t>Check</a:t>
          </a:r>
        </a:p>
      </dsp:txBody>
      <dsp:txXfrm>
        <a:off x="18062" y="17396"/>
        <a:ext cx="2171904" cy="545892"/>
      </dsp:txXfrm>
    </dsp:sp>
    <dsp:sp modelId="{ABD9DF18-2ABF-45AA-B7C8-1B3DEF1CB756}">
      <dsp:nvSpPr>
        <dsp:cNvPr id="0" name=""/>
        <dsp:cNvSpPr/>
      </dsp:nvSpPr>
      <dsp:spPr>
        <a:xfrm>
          <a:off x="1078" y="595381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612365"/>
        <a:ext cx="2171904" cy="545892"/>
      </dsp:txXfrm>
    </dsp:sp>
    <dsp:sp modelId="{4C603DB0-E501-417F-9308-54BEB419FCB9}">
      <dsp:nvSpPr>
        <dsp:cNvPr id="0" name=""/>
        <dsp:cNvSpPr/>
      </dsp:nvSpPr>
      <dsp:spPr>
        <a:xfrm>
          <a:off x="1078" y="1190350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1207334"/>
        <a:ext cx="2171904" cy="545892"/>
      </dsp:txXfrm>
    </dsp:sp>
    <dsp:sp modelId="{9C117668-9D27-4B1B-B835-27EFC59E80D4}">
      <dsp:nvSpPr>
        <dsp:cNvPr id="0" name=""/>
        <dsp:cNvSpPr/>
      </dsp:nvSpPr>
      <dsp:spPr>
        <a:xfrm>
          <a:off x="1078" y="1785319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1802303"/>
        <a:ext cx="2171904" cy="545892"/>
      </dsp:txXfrm>
    </dsp:sp>
    <dsp:sp modelId="{46E60340-0191-4A17-ADEA-C322584FCF66}">
      <dsp:nvSpPr>
        <dsp:cNvPr id="0" name=""/>
        <dsp:cNvSpPr/>
      </dsp:nvSpPr>
      <dsp:spPr>
        <a:xfrm>
          <a:off x="1078" y="2380288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2397272"/>
        <a:ext cx="2171904" cy="545892"/>
      </dsp:txXfrm>
    </dsp:sp>
    <dsp:sp modelId="{02047D82-4E48-47F9-B3A4-7A4FF64BDE2F}">
      <dsp:nvSpPr>
        <dsp:cNvPr id="0" name=""/>
        <dsp:cNvSpPr/>
      </dsp:nvSpPr>
      <dsp:spPr>
        <a:xfrm>
          <a:off x="1078" y="2975257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2992241"/>
        <a:ext cx="2171904" cy="545892"/>
      </dsp:txXfrm>
    </dsp:sp>
    <dsp:sp modelId="{3F0BB1E3-32B9-48A7-B919-F017CF944891}">
      <dsp:nvSpPr>
        <dsp:cNvPr id="0" name=""/>
        <dsp:cNvSpPr/>
      </dsp:nvSpPr>
      <dsp:spPr>
        <a:xfrm>
          <a:off x="1078" y="3570226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3587210"/>
        <a:ext cx="2171904" cy="545892"/>
      </dsp:txXfrm>
    </dsp:sp>
    <dsp:sp modelId="{E22D5F6F-EB31-4794-995A-B447CFDFC19C}">
      <dsp:nvSpPr>
        <dsp:cNvPr id="0" name=""/>
        <dsp:cNvSpPr/>
      </dsp:nvSpPr>
      <dsp:spPr>
        <a:xfrm>
          <a:off x="1078" y="4165195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4182179"/>
        <a:ext cx="2171904" cy="5458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B08494-735B-466A-842D-DF9BFA3521AD}">
      <dsp:nvSpPr>
        <dsp:cNvPr id="0" name=""/>
        <dsp:cNvSpPr/>
      </dsp:nvSpPr>
      <dsp:spPr>
        <a:xfrm>
          <a:off x="0" y="0"/>
          <a:ext cx="4949933" cy="564219"/>
        </a:xfrm>
        <a:prstGeom prst="roundRect">
          <a:avLst>
            <a:gd name="adj" fmla="val 10000"/>
          </a:avLst>
        </a:prstGeom>
        <a:solidFill>
          <a:srgbClr val="24378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Arial (Headings)"/>
            </a:rPr>
            <a:t>REVIEW</a:t>
          </a:r>
        </a:p>
      </dsp:txBody>
      <dsp:txXfrm>
        <a:off x="16525" y="16525"/>
        <a:ext cx="4916883" cy="531169"/>
      </dsp:txXfrm>
    </dsp:sp>
    <dsp:sp modelId="{DA5331A6-DCEB-4751-9FEF-75DF76ED7A9F}">
      <dsp:nvSpPr>
        <dsp:cNvPr id="0" name=""/>
        <dsp:cNvSpPr/>
      </dsp:nvSpPr>
      <dsp:spPr>
        <a:xfrm>
          <a:off x="2419" y="597600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Preparation and review</a:t>
          </a:r>
        </a:p>
      </dsp:txBody>
      <dsp:txXfrm>
        <a:off x="18944" y="614125"/>
        <a:ext cx="4916883" cy="531169"/>
      </dsp:txXfrm>
    </dsp:sp>
    <dsp:sp modelId="{9C928FEA-A4AC-4FC9-AF72-80429CE4D843}">
      <dsp:nvSpPr>
        <dsp:cNvPr id="0" name=""/>
        <dsp:cNvSpPr/>
      </dsp:nvSpPr>
      <dsp:spPr>
        <a:xfrm>
          <a:off x="2419" y="1194810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Active listening</a:t>
          </a:r>
        </a:p>
      </dsp:txBody>
      <dsp:txXfrm>
        <a:off x="18944" y="1211335"/>
        <a:ext cx="4916883" cy="531169"/>
      </dsp:txXfrm>
    </dsp:sp>
    <dsp:sp modelId="{647B045C-CD47-4538-81BC-D81BFCCBCFA5}">
      <dsp:nvSpPr>
        <dsp:cNvPr id="0" name=""/>
        <dsp:cNvSpPr/>
      </dsp:nvSpPr>
      <dsp:spPr>
        <a:xfrm>
          <a:off x="2419" y="1792019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Polite and professional tone</a:t>
          </a:r>
        </a:p>
      </dsp:txBody>
      <dsp:txXfrm>
        <a:off x="18944" y="1808544"/>
        <a:ext cx="4916883" cy="531169"/>
      </dsp:txXfrm>
    </dsp:sp>
    <dsp:sp modelId="{3F02C9F8-EA49-475A-BF24-2EA59E4BC0FE}">
      <dsp:nvSpPr>
        <dsp:cNvPr id="0" name=""/>
        <dsp:cNvSpPr/>
      </dsp:nvSpPr>
      <dsp:spPr>
        <a:xfrm>
          <a:off x="2419" y="2389228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Introduced yourself (Name, Position, Dealership)</a:t>
          </a:r>
        </a:p>
      </dsp:txBody>
      <dsp:txXfrm>
        <a:off x="18944" y="2405753"/>
        <a:ext cx="4916883" cy="531169"/>
      </dsp:txXfrm>
    </dsp:sp>
    <dsp:sp modelId="{79BB7786-005E-48A1-B65A-8AB6338DB0C1}">
      <dsp:nvSpPr>
        <dsp:cNvPr id="0" name=""/>
        <dsp:cNvSpPr/>
      </dsp:nvSpPr>
      <dsp:spPr>
        <a:xfrm>
          <a:off x="2419" y="2986438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Answered and/or addressed all questions</a:t>
          </a:r>
        </a:p>
      </dsp:txBody>
      <dsp:txXfrm>
        <a:off x="18944" y="3002963"/>
        <a:ext cx="4916883" cy="531169"/>
      </dsp:txXfrm>
    </dsp:sp>
    <dsp:sp modelId="{53987E47-B92C-42A6-9C02-78585B4A9C93}">
      <dsp:nvSpPr>
        <dsp:cNvPr id="0" name=""/>
        <dsp:cNvSpPr/>
      </dsp:nvSpPr>
      <dsp:spPr>
        <a:xfrm>
          <a:off x="2419" y="3583647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Take notes</a:t>
          </a:r>
        </a:p>
      </dsp:txBody>
      <dsp:txXfrm>
        <a:off x="18944" y="3600172"/>
        <a:ext cx="4916883" cy="531169"/>
      </dsp:txXfrm>
    </dsp:sp>
    <dsp:sp modelId="{DB13E5F7-9740-4C27-8FB1-678B916C7D72}">
      <dsp:nvSpPr>
        <dsp:cNvPr id="0" name=""/>
        <dsp:cNvSpPr/>
      </dsp:nvSpPr>
      <dsp:spPr>
        <a:xfrm>
          <a:off x="2419" y="4180856"/>
          <a:ext cx="4949933" cy="564219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rPr>
            <a:t>Next Steps and clear follow-up plan</a:t>
          </a:r>
        </a:p>
      </dsp:txBody>
      <dsp:txXfrm>
        <a:off x="18944" y="4197381"/>
        <a:ext cx="4916883" cy="53116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B08494-735B-466A-842D-DF9BFA3521AD}">
      <dsp:nvSpPr>
        <dsp:cNvPr id="0" name=""/>
        <dsp:cNvSpPr/>
      </dsp:nvSpPr>
      <dsp:spPr>
        <a:xfrm>
          <a:off x="1078" y="412"/>
          <a:ext cx="2205872" cy="579860"/>
        </a:xfrm>
        <a:prstGeom prst="roundRect">
          <a:avLst>
            <a:gd name="adj" fmla="val 10000"/>
          </a:avLst>
        </a:prstGeom>
        <a:solidFill>
          <a:srgbClr val="24378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Arial (Headings)"/>
            </a:rPr>
            <a:t>Check</a:t>
          </a:r>
        </a:p>
      </dsp:txBody>
      <dsp:txXfrm>
        <a:off x="18062" y="17396"/>
        <a:ext cx="2171904" cy="545892"/>
      </dsp:txXfrm>
    </dsp:sp>
    <dsp:sp modelId="{ABD9DF18-2ABF-45AA-B7C8-1B3DEF1CB756}">
      <dsp:nvSpPr>
        <dsp:cNvPr id="0" name=""/>
        <dsp:cNvSpPr/>
      </dsp:nvSpPr>
      <dsp:spPr>
        <a:xfrm>
          <a:off x="1078" y="595381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612365"/>
        <a:ext cx="2171904" cy="545892"/>
      </dsp:txXfrm>
    </dsp:sp>
    <dsp:sp modelId="{4C603DB0-E501-417F-9308-54BEB419FCB9}">
      <dsp:nvSpPr>
        <dsp:cNvPr id="0" name=""/>
        <dsp:cNvSpPr/>
      </dsp:nvSpPr>
      <dsp:spPr>
        <a:xfrm>
          <a:off x="1078" y="1190350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1207334"/>
        <a:ext cx="2171904" cy="545892"/>
      </dsp:txXfrm>
    </dsp:sp>
    <dsp:sp modelId="{9C117668-9D27-4B1B-B835-27EFC59E80D4}">
      <dsp:nvSpPr>
        <dsp:cNvPr id="0" name=""/>
        <dsp:cNvSpPr/>
      </dsp:nvSpPr>
      <dsp:spPr>
        <a:xfrm>
          <a:off x="1078" y="1785319"/>
          <a:ext cx="2205872" cy="579860"/>
        </a:xfrm>
        <a:prstGeom prst="roundRect">
          <a:avLst>
            <a:gd name="adj" fmla="val 10000"/>
          </a:avLst>
        </a:prstGeom>
        <a:solidFill>
          <a:srgbClr val="F2F2F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1802303"/>
        <a:ext cx="2171904" cy="545892"/>
      </dsp:txXfrm>
    </dsp:sp>
    <dsp:sp modelId="{46E60340-0191-4A17-ADEA-C322584FCF66}">
      <dsp:nvSpPr>
        <dsp:cNvPr id="0" name=""/>
        <dsp:cNvSpPr/>
      </dsp:nvSpPr>
      <dsp:spPr>
        <a:xfrm>
          <a:off x="1078" y="2380288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2397272"/>
        <a:ext cx="2171904" cy="545892"/>
      </dsp:txXfrm>
    </dsp:sp>
    <dsp:sp modelId="{02047D82-4E48-47F9-B3A4-7A4FF64BDE2F}">
      <dsp:nvSpPr>
        <dsp:cNvPr id="0" name=""/>
        <dsp:cNvSpPr/>
      </dsp:nvSpPr>
      <dsp:spPr>
        <a:xfrm>
          <a:off x="1078" y="2975257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2992241"/>
        <a:ext cx="2171904" cy="545892"/>
      </dsp:txXfrm>
    </dsp:sp>
    <dsp:sp modelId="{3F0BB1E3-32B9-48A7-B919-F017CF944891}">
      <dsp:nvSpPr>
        <dsp:cNvPr id="0" name=""/>
        <dsp:cNvSpPr/>
      </dsp:nvSpPr>
      <dsp:spPr>
        <a:xfrm>
          <a:off x="1078" y="3570226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3587210"/>
        <a:ext cx="2171904" cy="545892"/>
      </dsp:txXfrm>
    </dsp:sp>
    <dsp:sp modelId="{E22D5F6F-EB31-4794-995A-B447CFDFC19C}">
      <dsp:nvSpPr>
        <dsp:cNvPr id="0" name=""/>
        <dsp:cNvSpPr/>
      </dsp:nvSpPr>
      <dsp:spPr>
        <a:xfrm>
          <a:off x="1078" y="4165195"/>
          <a:ext cx="2205872" cy="579860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>
            <a:solidFill>
              <a:srgbClr val="1B6CB3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062" y="4182179"/>
        <a:ext cx="2171904" cy="5458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864D267-EE9A-D26D-3033-6E78240D550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990E51-8CEA-B3D8-A2E2-42E8085794E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BBD5C-35DE-4B3F-B9B0-D59150655B24}" type="datetimeFigureOut">
              <a:rPr lang="en-US" smtClean="0"/>
              <a:t>12/0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7F44D1-A1EF-5DCA-0141-C6E8D20FBC9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2F37CC-B86F-A7E6-F5AC-F5CC67CBEEB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31485-EA3E-449A-BE99-4C9497343A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0020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6159F2-39EE-404B-8ECA-F6AD25729979}" type="datetimeFigureOut">
              <a:rPr lang="en-US" smtClean="0"/>
              <a:t>12/0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2743200" cy="1543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2892829"/>
            <a:ext cx="5486400" cy="510817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700E15-219A-48FA-894E-29E5D5C548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8651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300"/>
      </a:spcAft>
      <a:buFont typeface="Symbol" panose="05050102010706020507" pitchFamily="18" charset="2"/>
      <a:buNone/>
      <a:defRPr sz="1800" kern="1200">
        <a:solidFill>
          <a:schemeClr val="tx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5pPr>
    <a:lvl6pPr marL="90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6pPr>
    <a:lvl7pPr marL="108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7pPr>
    <a:lvl8pPr marL="1431450" indent="-17145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8pPr>
    <a:lvl9pPr marL="162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180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1636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5846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652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8013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5773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50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7110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0502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6933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840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7824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79418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76594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1011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1299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6310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178375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55131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839AF0-694F-754F-947C-13E00F20E7CA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46616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19302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0038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91998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242355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59596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0374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995898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278426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88620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19582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208364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0295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00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Better Chances of Making a Sale: Quick replies mean you're more likely to turn a maybe into a y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appier Customers: People love it when you answer fast. It shows you care and are ready to help.</a:t>
            </a:r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mprove Brand Image: When you're quick to respond, people start thinking your brand is on the ball and reliable.</a:t>
            </a:r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ore Money in the Bank: The faster you respond, the more sales you're likely to make. And that means more profit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6938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81095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148186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3859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384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6906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5535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9713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B3F5A-2990-4D4F-8131-524BF39CE4A1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034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7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7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1875367"/>
            <a:ext cx="11112502" cy="1821921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3970338"/>
            <a:ext cx="11112502" cy="942022"/>
          </a:xfrm>
        </p:spPr>
        <p:txBody>
          <a:bodyPr>
            <a:noAutofit/>
          </a:bodyPr>
          <a:lstStyle>
            <a:lvl1pPr marL="0" indent="0" algn="l"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>
              <a:spcAft>
                <a:spcPts val="0"/>
              </a:spcAft>
              <a:buNone/>
              <a:defRPr lang="en-US" sz="28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94A6121-889B-625F-300B-FA52A95E298E}"/>
              </a:ext>
            </a:extLst>
          </p:cNvPr>
          <p:cNvGrpSpPr/>
          <p:nvPr userDrawn="1"/>
        </p:nvGrpSpPr>
        <p:grpSpPr bwMode="black">
          <a:xfrm>
            <a:off x="538164" y="853208"/>
            <a:ext cx="3585838" cy="764057"/>
            <a:chOff x="538164" y="853208"/>
            <a:chExt cx="3585838" cy="764057"/>
          </a:xfrm>
          <a:solidFill>
            <a:schemeClr val="bg1"/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F6D1DAD-05DF-9AD9-7E5E-DD88E78C0A43}"/>
                </a:ext>
              </a:extLst>
            </p:cNvPr>
            <p:cNvSpPr/>
            <p:nvPr/>
          </p:nvSpPr>
          <p:spPr bwMode="black">
            <a:xfrm>
              <a:off x="1630469" y="1071851"/>
              <a:ext cx="2493533" cy="436490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3B3ADD2-B7B2-47A7-DF0B-4995540F41E0}"/>
                </a:ext>
              </a:extLst>
            </p:cNvPr>
            <p:cNvSpPr/>
            <p:nvPr/>
          </p:nvSpPr>
          <p:spPr bwMode="black">
            <a:xfrm>
              <a:off x="538164" y="853208"/>
              <a:ext cx="873889" cy="764057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6143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98" userDrawn="1">
          <p15:clr>
            <a:srgbClr val="FBAE40"/>
          </p15:clr>
        </p15:guide>
        <p15:guide id="3" orient="horz" pos="2500" userDrawn="1">
          <p15:clr>
            <a:srgbClr val="FBAE40"/>
          </p15:clr>
        </p15:guide>
        <p15:guide id="4" orient="horz" pos="232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empty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E5BFCA1-3193-48B3-BF1A-E02DCE997C18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308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_1 column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79164C-DC6D-4267-A2A6-ADC09FD5713D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9750" y="1618719"/>
            <a:ext cx="11112497" cy="442889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9732453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1 column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1C2088A-812C-4951-BE55-CF481FD303E4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9750" y="1619780"/>
            <a:ext cx="11112497" cy="4425419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54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Please insert 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2455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_2 columns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35044D-8465-462B-BA91-D9191558C207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40001" y="1618719"/>
            <a:ext cx="5465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54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F82E096-CAC5-9D80-FF2E-17A527AF04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6000" y="1617662"/>
            <a:ext cx="5465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740778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2 columns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E9CF213-B401-4574-BC12-E60AEC5DEAB4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54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F82E096-CAC5-9D80-FF2E-17A527AF04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6000" y="1617663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008424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_3 columns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C71BF3-F123-4AAF-83BB-F93A5B79EF23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40001" y="1618719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F82E096-CAC5-9D80-FF2E-17A527AF04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304000" y="1617662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A3F3FFBF-34A4-2F7A-2AB9-F5DEAD2A2CB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068000" y="1617662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933174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68" userDrawn="1">
          <p15:clr>
            <a:srgbClr val="FBAE40"/>
          </p15:clr>
        </p15:guide>
        <p15:guide id="2" pos="2597" userDrawn="1">
          <p15:clr>
            <a:srgbClr val="FBAE40"/>
          </p15:clr>
        </p15:guide>
        <p15:guide id="3" pos="2709" userDrawn="1">
          <p15:clr>
            <a:srgbClr val="FBAE40"/>
          </p15:clr>
        </p15:guide>
        <p15:guide id="4" pos="508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3 columns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498440A-539A-4290-B124-41EDBD5E62EB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40001" y="1618719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F82E096-CAC5-9D80-FF2E-17A527AF04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304000" y="1617662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A3F3FFBF-34A4-2F7A-2AB9-F5DEAD2A2CB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068000" y="1617662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84342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68" userDrawn="1">
          <p15:clr>
            <a:srgbClr val="FBAE40"/>
          </p15:clr>
        </p15:guide>
        <p15:guide id="2" pos="2597" userDrawn="1">
          <p15:clr>
            <a:srgbClr val="FBAE40"/>
          </p15:clr>
        </p15:guide>
        <p15:guide id="3" pos="2709" userDrawn="1">
          <p15:clr>
            <a:srgbClr val="FBAE40"/>
          </p15:clr>
        </p15:guide>
        <p15:guide id="4" pos="508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_4 columns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733728-EAE4-41B8-8260-D1B59E6D9709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7E22FACE-7AEC-83A8-F857-C868512819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0001" y="1618720"/>
            <a:ext cx="2643000" cy="1811337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003CB9C-0A67-9D2B-1AE5-428CD8681D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1" y="3698875"/>
            <a:ext cx="2643000" cy="2346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1748B225-2B7F-B60E-B0CC-A7BEAA45CC4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363001" y="1618720"/>
            <a:ext cx="2643000" cy="1811337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5086E601-A09C-165C-4149-296201214E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3001" y="3698875"/>
            <a:ext cx="2643000" cy="2346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6F23DB56-5D93-8EC8-98CD-5747D530CCB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86000" y="1618720"/>
            <a:ext cx="2643000" cy="1811337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5F3C5BB2-4251-947F-CCD0-813E22121D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6000" y="3698875"/>
            <a:ext cx="2643000" cy="2346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8175BE1D-8097-4D2E-6730-E9723B233FE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009000" y="1618720"/>
            <a:ext cx="2643000" cy="1811337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F80B8BCB-9B65-4479-D477-7F83BE3E60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09000" y="3698875"/>
            <a:ext cx="2643000" cy="2346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384049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005" userDrawn="1">
          <p15:clr>
            <a:srgbClr val="FBAE40"/>
          </p15:clr>
        </p15:guide>
        <p15:guide id="3" pos="3783" userDrawn="1">
          <p15:clr>
            <a:srgbClr val="FBAE40"/>
          </p15:clr>
        </p15:guide>
        <p15:guide id="5" pos="2117" userDrawn="1">
          <p15:clr>
            <a:srgbClr val="FBAE40"/>
          </p15:clr>
        </p15:guide>
        <p15:guide id="6" pos="3896" userDrawn="1">
          <p15:clr>
            <a:srgbClr val="FBAE40"/>
          </p15:clr>
        </p15:guide>
        <p15:guide id="7" pos="5562" userDrawn="1">
          <p15:clr>
            <a:srgbClr val="FBAE40"/>
          </p15:clr>
        </p15:guide>
        <p15:guide id="8" pos="5674" userDrawn="1">
          <p15:clr>
            <a:srgbClr val="FBAE40"/>
          </p15:clr>
        </p15:guide>
        <p15:guide id="9" orient="horz" pos="2160" userDrawn="1">
          <p15:clr>
            <a:srgbClr val="FBAE40"/>
          </p15:clr>
        </p15:guide>
        <p15:guide id="10" orient="horz" pos="233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4 columns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4AA0E15-A088-45AE-B4CB-C44003358AF1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7E22FACE-7AEC-83A8-F857-C868512819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0001" y="1618720"/>
            <a:ext cx="2643000" cy="1811337"/>
          </a:xfrm>
          <a:solidFill>
            <a:schemeClr val="accent4"/>
          </a:solidFill>
        </p:spPr>
        <p:txBody>
          <a:bodyPr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003CB9C-0A67-9D2B-1AE5-428CD8681D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1" y="3698875"/>
            <a:ext cx="2643000" cy="234632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1748B225-2B7F-B60E-B0CC-A7BEAA45CC4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363001" y="1618720"/>
            <a:ext cx="2643000" cy="1811337"/>
          </a:xfrm>
          <a:solidFill>
            <a:schemeClr val="accent4"/>
          </a:solidFill>
        </p:spPr>
        <p:txBody>
          <a:bodyPr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5086E601-A09C-165C-4149-296201214E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3001" y="3698875"/>
            <a:ext cx="2643000" cy="234632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6F23DB56-5D93-8EC8-98CD-5747D530CCB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86000" y="1618720"/>
            <a:ext cx="2643000" cy="1811337"/>
          </a:xfrm>
          <a:solidFill>
            <a:schemeClr val="accent4"/>
          </a:solidFill>
        </p:spPr>
        <p:txBody>
          <a:bodyPr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5F3C5BB2-4251-947F-CCD0-813E22121D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6000" y="3698875"/>
            <a:ext cx="2643000" cy="234632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8175BE1D-8097-4D2E-6730-E9723B233FE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009000" y="1618720"/>
            <a:ext cx="2643000" cy="1811337"/>
          </a:xfrm>
          <a:solidFill>
            <a:schemeClr val="accent4"/>
          </a:solidFill>
        </p:spPr>
        <p:txBody>
          <a:bodyPr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F80B8BCB-9B65-4479-D477-7F83BE3E60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09000" y="3698875"/>
            <a:ext cx="2643000" cy="234632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4148989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005" userDrawn="1">
          <p15:clr>
            <a:srgbClr val="FBAE40"/>
          </p15:clr>
        </p15:guide>
        <p15:guide id="3" pos="3783" userDrawn="1">
          <p15:clr>
            <a:srgbClr val="FBAE40"/>
          </p15:clr>
        </p15:guide>
        <p15:guide id="5" pos="2117" userDrawn="1">
          <p15:clr>
            <a:srgbClr val="FBAE40"/>
          </p15:clr>
        </p15:guide>
        <p15:guide id="6" pos="3896" userDrawn="1">
          <p15:clr>
            <a:srgbClr val="FBAE40"/>
          </p15:clr>
        </p15:guide>
        <p15:guide id="7" pos="5562" userDrawn="1">
          <p15:clr>
            <a:srgbClr val="FBAE40"/>
          </p15:clr>
        </p15:guide>
        <p15:guide id="8" pos="5674" userDrawn="1">
          <p15:clr>
            <a:srgbClr val="FBAE40"/>
          </p15:clr>
        </p15:guide>
        <p15:guide id="9" orient="horz" pos="2160" userDrawn="1">
          <p15:clr>
            <a:srgbClr val="FBAE40"/>
          </p15:clr>
        </p15:guide>
        <p15:guide id="10" orient="horz" pos="233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image_dark_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82E22475-5AA0-F2C0-0102-83ECDF348C1B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DF0A99-91B5-7C8B-95D4-7A1C654B58C5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8B7952A-89C0-D564-994E-FA9124E6506C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285AEC-C5F2-4122-90C7-405310EF48C7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103631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1875367"/>
            <a:ext cx="11112502" cy="1821921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3970338"/>
            <a:ext cx="11112502" cy="942022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94A6121-889B-625F-300B-FA52A95E298E}"/>
              </a:ext>
            </a:extLst>
          </p:cNvPr>
          <p:cNvGrpSpPr/>
          <p:nvPr userDrawn="1"/>
        </p:nvGrpSpPr>
        <p:grpSpPr>
          <a:xfrm>
            <a:off x="538164" y="853208"/>
            <a:ext cx="3585838" cy="764057"/>
            <a:chOff x="538164" y="853208"/>
            <a:chExt cx="3585838" cy="764057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F6D1DAD-05DF-9AD9-7E5E-DD88E78C0A43}"/>
                </a:ext>
              </a:extLst>
            </p:cNvPr>
            <p:cNvSpPr/>
            <p:nvPr/>
          </p:nvSpPr>
          <p:spPr>
            <a:xfrm>
              <a:off x="1630469" y="1071851"/>
              <a:ext cx="2493533" cy="436490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solidFill>
              <a:srgbClr val="004F9F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3B3ADD2-B7B2-47A7-DF0B-4995540F41E0}"/>
                </a:ext>
              </a:extLst>
            </p:cNvPr>
            <p:cNvSpPr/>
            <p:nvPr/>
          </p:nvSpPr>
          <p:spPr>
            <a:xfrm>
              <a:off x="538164" y="853208"/>
              <a:ext cx="873889" cy="764057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0378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98" userDrawn="1">
          <p15:clr>
            <a:srgbClr val="FBAE40"/>
          </p15:clr>
        </p15:guide>
        <p15:guide id="3" orient="horz" pos="2500" userDrawn="1">
          <p15:clr>
            <a:srgbClr val="FBAE40"/>
          </p15:clr>
        </p15:guide>
        <p15:guide id="4" orient="horz" pos="232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image_dark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82E22475-5AA0-F2C0-0102-83ECDF348C1B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DF0A99-91B5-7C8B-95D4-7A1C654B58C5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8B7952A-89C0-D564-994E-FA9124E6506C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285AEC-C5F2-4122-90C7-405310EF48C7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343817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image_dark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6D53D1B-C6DE-4DD3-B9A9-D88B2DD31490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393811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image_ligh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82E22475-5AA0-F2C0-0102-83ECDF348C1B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DF0A99-91B5-7C8B-95D4-7A1C654B58C5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8B7952A-89C0-D564-994E-FA9124E6506C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A49B11-BA62-4804-9B09-4719E44E4B1C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1813862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image_light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82E22475-5AA0-F2C0-0102-83ECDF348C1B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DF0A99-91B5-7C8B-95D4-7A1C654B58C5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8B7952A-89C0-D564-994E-FA9124E6506C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A49B11-BA62-4804-9B09-4719E44E4B1C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080033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image_light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65EF567-561D-4887-8FA9-AA1BC5EE6983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059137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desig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BA23EE-BF87-1090-7766-E2BB3D8EC3B3}"/>
              </a:ext>
            </a:extLst>
          </p:cNvPr>
          <p:cNvSpPr/>
          <p:nvPr userDrawn="1"/>
        </p:nvSpPr>
        <p:spPr bwMode="white">
          <a:xfrm>
            <a:off x="6095387" y="0"/>
            <a:ext cx="609661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1" y="540001"/>
            <a:ext cx="5376612" cy="3877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195138"/>
            <a:ext cx="5376865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F6FC4D-0D07-483A-AEC7-6C8E5026D5BD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376306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40002" y="1618719"/>
            <a:ext cx="5376612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F82E096-CAC5-9D80-FF2E-17A527AF04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453188" y="1617662"/>
            <a:ext cx="5198811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4BEC69-A027-B823-F3F1-A61DD22740CC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FEEEC1C-4FFB-B523-5BED-7C8EE3E9C289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586828-967F-7B99-E066-3FD8BA6DF0E4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42649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406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Slide_dark_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C7B99DC-6A49-AA7B-C884-F03DC6C439D0}"/>
              </a:ext>
            </a:extLst>
          </p:cNvPr>
          <p:cNvSpPr/>
          <p:nvPr userDrawn="1"/>
        </p:nvSpPr>
        <p:spPr>
          <a:xfrm>
            <a:off x="10470746" y="642617"/>
            <a:ext cx="1185143" cy="207458"/>
          </a:xfrm>
          <a:custGeom>
            <a:avLst/>
            <a:gdLst>
              <a:gd name="connsiteX0" fmla="*/ 259606 w 1185143"/>
              <a:gd name="connsiteY0" fmla="*/ 138234 h 207458"/>
              <a:gd name="connsiteX1" fmla="*/ 311539 w 1185143"/>
              <a:gd name="connsiteY1" fmla="*/ 138234 h 207458"/>
              <a:gd name="connsiteX2" fmla="*/ 311539 w 1185143"/>
              <a:gd name="connsiteY2" fmla="*/ 103486 h 207458"/>
              <a:gd name="connsiteX3" fmla="*/ 259606 w 1185143"/>
              <a:gd name="connsiteY3" fmla="*/ 103486 h 207458"/>
              <a:gd name="connsiteX4" fmla="*/ 259606 w 1185143"/>
              <a:gd name="connsiteY4" fmla="*/ 138234 h 207458"/>
              <a:gd name="connsiteX5" fmla="*/ 787196 w 1185143"/>
              <a:gd name="connsiteY5" fmla="*/ 103756 h 207458"/>
              <a:gd name="connsiteX6" fmla="*/ 821943 w 1185143"/>
              <a:gd name="connsiteY6" fmla="*/ 103756 h 207458"/>
              <a:gd name="connsiteX7" fmla="*/ 821943 w 1185143"/>
              <a:gd name="connsiteY7" fmla="*/ 172981 h 207458"/>
              <a:gd name="connsiteX8" fmla="*/ 787196 w 1185143"/>
              <a:gd name="connsiteY8" fmla="*/ 172981 h 207458"/>
              <a:gd name="connsiteX9" fmla="*/ 787196 w 1185143"/>
              <a:gd name="connsiteY9" fmla="*/ 103756 h 207458"/>
              <a:gd name="connsiteX10" fmla="*/ 752718 w 1185143"/>
              <a:gd name="connsiteY10" fmla="*/ 69225 h 207458"/>
              <a:gd name="connsiteX11" fmla="*/ 735318 w 1185143"/>
              <a:gd name="connsiteY11" fmla="*/ 103756 h 207458"/>
              <a:gd name="connsiteX12" fmla="*/ 735318 w 1185143"/>
              <a:gd name="connsiteY12" fmla="*/ 172981 h 207458"/>
              <a:gd name="connsiteX13" fmla="*/ 752718 w 1185143"/>
              <a:gd name="connsiteY13" fmla="*/ 207458 h 207458"/>
              <a:gd name="connsiteX14" fmla="*/ 873821 w 1185143"/>
              <a:gd name="connsiteY14" fmla="*/ 207458 h 207458"/>
              <a:gd name="connsiteX15" fmla="*/ 873821 w 1185143"/>
              <a:gd name="connsiteY15" fmla="*/ 69225 h 207458"/>
              <a:gd name="connsiteX16" fmla="*/ 752718 w 1185143"/>
              <a:gd name="connsiteY16" fmla="*/ 69225 h 207458"/>
              <a:gd name="connsiteX17" fmla="*/ 977577 w 1185143"/>
              <a:gd name="connsiteY17" fmla="*/ 69225 h 207458"/>
              <a:gd name="connsiteX18" fmla="*/ 977577 w 1185143"/>
              <a:gd name="connsiteY18" fmla="*/ 207458 h 207458"/>
              <a:gd name="connsiteX19" fmla="*/ 1029455 w 1185143"/>
              <a:gd name="connsiteY19" fmla="*/ 207458 h 207458"/>
              <a:gd name="connsiteX20" fmla="*/ 1029455 w 1185143"/>
              <a:gd name="connsiteY20" fmla="*/ 103756 h 207458"/>
              <a:gd name="connsiteX21" fmla="*/ 1055394 w 1185143"/>
              <a:gd name="connsiteY21" fmla="*/ 103756 h 207458"/>
              <a:gd name="connsiteX22" fmla="*/ 1055394 w 1185143"/>
              <a:gd name="connsiteY22" fmla="*/ 207458 h 207458"/>
              <a:gd name="connsiteX23" fmla="*/ 1107273 w 1185143"/>
              <a:gd name="connsiteY23" fmla="*/ 207458 h 207458"/>
              <a:gd name="connsiteX24" fmla="*/ 1107273 w 1185143"/>
              <a:gd name="connsiteY24" fmla="*/ 103756 h 207458"/>
              <a:gd name="connsiteX25" fmla="*/ 1133266 w 1185143"/>
              <a:gd name="connsiteY25" fmla="*/ 103756 h 207458"/>
              <a:gd name="connsiteX26" fmla="*/ 1133266 w 1185143"/>
              <a:gd name="connsiteY26" fmla="*/ 207458 h 207458"/>
              <a:gd name="connsiteX27" fmla="*/ 1185144 w 1185143"/>
              <a:gd name="connsiteY27" fmla="*/ 207458 h 207458"/>
              <a:gd name="connsiteX28" fmla="*/ 1185144 w 1185143"/>
              <a:gd name="connsiteY28" fmla="*/ 103756 h 207458"/>
              <a:gd name="connsiteX29" fmla="*/ 1168013 w 1185143"/>
              <a:gd name="connsiteY29" fmla="*/ 69225 h 207458"/>
              <a:gd name="connsiteX30" fmla="*/ 977631 w 1185143"/>
              <a:gd name="connsiteY30" fmla="*/ 69225 h 207458"/>
              <a:gd name="connsiteX31" fmla="*/ 899760 w 1185143"/>
              <a:gd name="connsiteY31" fmla="*/ 207458 h 207458"/>
              <a:gd name="connsiteX32" fmla="*/ 951692 w 1185143"/>
              <a:gd name="connsiteY32" fmla="*/ 207458 h 207458"/>
              <a:gd name="connsiteX33" fmla="*/ 951692 w 1185143"/>
              <a:gd name="connsiteY33" fmla="*/ 69225 h 207458"/>
              <a:gd name="connsiteX34" fmla="*/ 899760 w 1185143"/>
              <a:gd name="connsiteY34" fmla="*/ 69009 h 207458"/>
              <a:gd name="connsiteX35" fmla="*/ 899760 w 1185143"/>
              <a:gd name="connsiteY35" fmla="*/ 207458 h 207458"/>
              <a:gd name="connsiteX36" fmla="*/ 112565 w 1185143"/>
              <a:gd name="connsiteY36" fmla="*/ 34477 h 207458"/>
              <a:gd name="connsiteX37" fmla="*/ 112565 w 1185143"/>
              <a:gd name="connsiteY37" fmla="*/ 103756 h 207458"/>
              <a:gd name="connsiteX38" fmla="*/ 86355 w 1185143"/>
              <a:gd name="connsiteY38" fmla="*/ 103756 h 207458"/>
              <a:gd name="connsiteX39" fmla="*/ 112565 w 1185143"/>
              <a:gd name="connsiteY39" fmla="*/ 34477 h 207458"/>
              <a:gd name="connsiteX40" fmla="*/ 69225 w 1185143"/>
              <a:gd name="connsiteY40" fmla="*/ 0 h 207458"/>
              <a:gd name="connsiteX41" fmla="*/ 0 w 1185143"/>
              <a:gd name="connsiteY41" fmla="*/ 207458 h 207458"/>
              <a:gd name="connsiteX42" fmla="*/ 51878 w 1185143"/>
              <a:gd name="connsiteY42" fmla="*/ 207458 h 207458"/>
              <a:gd name="connsiteX43" fmla="*/ 77817 w 1185143"/>
              <a:gd name="connsiteY43" fmla="*/ 138450 h 207458"/>
              <a:gd name="connsiteX44" fmla="*/ 112565 w 1185143"/>
              <a:gd name="connsiteY44" fmla="*/ 138450 h 207458"/>
              <a:gd name="connsiteX45" fmla="*/ 112565 w 1185143"/>
              <a:gd name="connsiteY45" fmla="*/ 207458 h 207458"/>
              <a:gd name="connsiteX46" fmla="*/ 164443 w 1185143"/>
              <a:gd name="connsiteY46" fmla="*/ 207458 h 207458"/>
              <a:gd name="connsiteX47" fmla="*/ 164443 w 1185143"/>
              <a:gd name="connsiteY47" fmla="*/ 0 h 207458"/>
              <a:gd name="connsiteX48" fmla="*/ 69225 w 1185143"/>
              <a:gd name="connsiteY48" fmla="*/ 0 h 207458"/>
              <a:gd name="connsiteX49" fmla="*/ 190328 w 1185143"/>
              <a:gd name="connsiteY49" fmla="*/ 207458 h 207458"/>
              <a:gd name="connsiteX50" fmla="*/ 242206 w 1185143"/>
              <a:gd name="connsiteY50" fmla="*/ 207458 h 207458"/>
              <a:gd name="connsiteX51" fmla="*/ 242206 w 1185143"/>
              <a:gd name="connsiteY51" fmla="*/ 0 h 207458"/>
              <a:gd name="connsiteX52" fmla="*/ 190328 w 1185143"/>
              <a:gd name="connsiteY52" fmla="*/ 0 h 207458"/>
              <a:gd name="connsiteX53" fmla="*/ 190328 w 1185143"/>
              <a:gd name="connsiteY53" fmla="*/ 207458 h 207458"/>
              <a:gd name="connsiteX54" fmla="*/ 328615 w 1185143"/>
              <a:gd name="connsiteY54" fmla="*/ 0 h 207458"/>
              <a:gd name="connsiteX55" fmla="*/ 328615 w 1185143"/>
              <a:gd name="connsiteY55" fmla="*/ 207458 h 207458"/>
              <a:gd name="connsiteX56" fmla="*/ 380493 w 1185143"/>
              <a:gd name="connsiteY56" fmla="*/ 207458 h 207458"/>
              <a:gd name="connsiteX57" fmla="*/ 380493 w 1185143"/>
              <a:gd name="connsiteY57" fmla="*/ 103756 h 207458"/>
              <a:gd name="connsiteX58" fmla="*/ 415295 w 1185143"/>
              <a:gd name="connsiteY58" fmla="*/ 103756 h 207458"/>
              <a:gd name="connsiteX59" fmla="*/ 415295 w 1185143"/>
              <a:gd name="connsiteY59" fmla="*/ 172981 h 207458"/>
              <a:gd name="connsiteX60" fmla="*/ 432641 w 1185143"/>
              <a:gd name="connsiteY60" fmla="*/ 207458 h 207458"/>
              <a:gd name="connsiteX61" fmla="*/ 553798 w 1185143"/>
              <a:gd name="connsiteY61" fmla="*/ 207458 h 207458"/>
              <a:gd name="connsiteX62" fmla="*/ 553798 w 1185143"/>
              <a:gd name="connsiteY62" fmla="*/ 103756 h 207458"/>
              <a:gd name="connsiteX63" fmla="*/ 579737 w 1185143"/>
              <a:gd name="connsiteY63" fmla="*/ 103756 h 207458"/>
              <a:gd name="connsiteX64" fmla="*/ 579737 w 1185143"/>
              <a:gd name="connsiteY64" fmla="*/ 207458 h 207458"/>
              <a:gd name="connsiteX65" fmla="*/ 631561 w 1185143"/>
              <a:gd name="connsiteY65" fmla="*/ 207458 h 207458"/>
              <a:gd name="connsiteX66" fmla="*/ 631561 w 1185143"/>
              <a:gd name="connsiteY66" fmla="*/ 103756 h 207458"/>
              <a:gd name="connsiteX67" fmla="*/ 657555 w 1185143"/>
              <a:gd name="connsiteY67" fmla="*/ 103756 h 207458"/>
              <a:gd name="connsiteX68" fmla="*/ 657555 w 1185143"/>
              <a:gd name="connsiteY68" fmla="*/ 207458 h 207458"/>
              <a:gd name="connsiteX69" fmla="*/ 709433 w 1185143"/>
              <a:gd name="connsiteY69" fmla="*/ 207458 h 207458"/>
              <a:gd name="connsiteX70" fmla="*/ 709433 w 1185143"/>
              <a:gd name="connsiteY70" fmla="*/ 103756 h 207458"/>
              <a:gd name="connsiteX71" fmla="*/ 735372 w 1185143"/>
              <a:gd name="connsiteY71" fmla="*/ 103756 h 207458"/>
              <a:gd name="connsiteX72" fmla="*/ 735372 w 1185143"/>
              <a:gd name="connsiteY72" fmla="*/ 69225 h 207458"/>
              <a:gd name="connsiteX73" fmla="*/ 709433 w 1185143"/>
              <a:gd name="connsiteY73" fmla="*/ 69225 h 207458"/>
              <a:gd name="connsiteX74" fmla="*/ 709433 w 1185143"/>
              <a:gd name="connsiteY74" fmla="*/ 34477 h 207458"/>
              <a:gd name="connsiteX75" fmla="*/ 657555 w 1185143"/>
              <a:gd name="connsiteY75" fmla="*/ 34477 h 207458"/>
              <a:gd name="connsiteX76" fmla="*/ 657555 w 1185143"/>
              <a:gd name="connsiteY76" fmla="*/ 69225 h 207458"/>
              <a:gd name="connsiteX77" fmla="*/ 631561 w 1185143"/>
              <a:gd name="connsiteY77" fmla="*/ 69225 h 207458"/>
              <a:gd name="connsiteX78" fmla="*/ 631561 w 1185143"/>
              <a:gd name="connsiteY78" fmla="*/ 34477 h 207458"/>
              <a:gd name="connsiteX79" fmla="*/ 579737 w 1185143"/>
              <a:gd name="connsiteY79" fmla="*/ 34477 h 207458"/>
              <a:gd name="connsiteX80" fmla="*/ 579737 w 1185143"/>
              <a:gd name="connsiteY80" fmla="*/ 69225 h 207458"/>
              <a:gd name="connsiteX81" fmla="*/ 501650 w 1185143"/>
              <a:gd name="connsiteY81" fmla="*/ 69225 h 207458"/>
              <a:gd name="connsiteX82" fmla="*/ 501650 w 1185143"/>
              <a:gd name="connsiteY82" fmla="*/ 172927 h 207458"/>
              <a:gd name="connsiteX83" fmla="*/ 467173 w 1185143"/>
              <a:gd name="connsiteY83" fmla="*/ 172927 h 207458"/>
              <a:gd name="connsiteX84" fmla="*/ 467173 w 1185143"/>
              <a:gd name="connsiteY84" fmla="*/ 69225 h 207458"/>
              <a:gd name="connsiteX85" fmla="*/ 380547 w 1185143"/>
              <a:gd name="connsiteY85" fmla="*/ 69225 h 207458"/>
              <a:gd name="connsiteX86" fmla="*/ 380547 w 1185143"/>
              <a:gd name="connsiteY86" fmla="*/ 34477 h 207458"/>
              <a:gd name="connsiteX87" fmla="*/ 467173 w 1185143"/>
              <a:gd name="connsiteY87" fmla="*/ 34477 h 207458"/>
              <a:gd name="connsiteX88" fmla="*/ 467173 w 1185143"/>
              <a:gd name="connsiteY88" fmla="*/ 0 h 207458"/>
              <a:gd name="connsiteX89" fmla="*/ 328669 w 1185143"/>
              <a:gd name="connsiteY89" fmla="*/ 0 h 207458"/>
              <a:gd name="connsiteX90" fmla="*/ 899760 w 1185143"/>
              <a:gd name="connsiteY90" fmla="*/ 34477 h 207458"/>
              <a:gd name="connsiteX91" fmla="*/ 951692 w 1185143"/>
              <a:gd name="connsiteY91" fmla="*/ 34477 h 207458"/>
              <a:gd name="connsiteX92" fmla="*/ 951692 w 1185143"/>
              <a:gd name="connsiteY92" fmla="*/ 0 h 207458"/>
              <a:gd name="connsiteX93" fmla="*/ 899760 w 1185143"/>
              <a:gd name="connsiteY93" fmla="*/ 0 h 207458"/>
              <a:gd name="connsiteX94" fmla="*/ 899760 w 1185143"/>
              <a:gd name="connsiteY94" fmla="*/ 34477 h 20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185143" h="207458">
                <a:moveTo>
                  <a:pt x="259606" y="138234"/>
                </a:moveTo>
                <a:lnTo>
                  <a:pt x="311539" y="138234"/>
                </a:lnTo>
                <a:lnTo>
                  <a:pt x="311539" y="103486"/>
                </a:lnTo>
                <a:lnTo>
                  <a:pt x="259606" y="103486"/>
                </a:lnTo>
                <a:lnTo>
                  <a:pt x="259606" y="138234"/>
                </a:lnTo>
                <a:close/>
                <a:moveTo>
                  <a:pt x="787196" y="103756"/>
                </a:moveTo>
                <a:lnTo>
                  <a:pt x="821943" y="103756"/>
                </a:lnTo>
                <a:lnTo>
                  <a:pt x="821943" y="172981"/>
                </a:lnTo>
                <a:lnTo>
                  <a:pt x="787196" y="172981"/>
                </a:lnTo>
                <a:lnTo>
                  <a:pt x="787196" y="103756"/>
                </a:lnTo>
                <a:close/>
                <a:moveTo>
                  <a:pt x="752718" y="69225"/>
                </a:moveTo>
                <a:lnTo>
                  <a:pt x="735318" y="103756"/>
                </a:lnTo>
                <a:lnTo>
                  <a:pt x="735318" y="172981"/>
                </a:lnTo>
                <a:lnTo>
                  <a:pt x="752718" y="207458"/>
                </a:lnTo>
                <a:lnTo>
                  <a:pt x="873821" y="207458"/>
                </a:lnTo>
                <a:lnTo>
                  <a:pt x="873821" y="69225"/>
                </a:lnTo>
                <a:lnTo>
                  <a:pt x="752718" y="69225"/>
                </a:lnTo>
                <a:close/>
                <a:moveTo>
                  <a:pt x="977577" y="69225"/>
                </a:moveTo>
                <a:lnTo>
                  <a:pt x="977577" y="207458"/>
                </a:lnTo>
                <a:lnTo>
                  <a:pt x="1029455" y="207458"/>
                </a:lnTo>
                <a:lnTo>
                  <a:pt x="1029455" y="103756"/>
                </a:lnTo>
                <a:lnTo>
                  <a:pt x="1055394" y="103756"/>
                </a:lnTo>
                <a:lnTo>
                  <a:pt x="1055394" y="207458"/>
                </a:lnTo>
                <a:lnTo>
                  <a:pt x="1107273" y="207458"/>
                </a:lnTo>
                <a:lnTo>
                  <a:pt x="1107273" y="103756"/>
                </a:lnTo>
                <a:lnTo>
                  <a:pt x="1133266" y="103756"/>
                </a:lnTo>
                <a:lnTo>
                  <a:pt x="1133266" y="207458"/>
                </a:lnTo>
                <a:lnTo>
                  <a:pt x="1185144" y="207458"/>
                </a:lnTo>
                <a:lnTo>
                  <a:pt x="1185144" y="103756"/>
                </a:lnTo>
                <a:lnTo>
                  <a:pt x="1168013" y="69225"/>
                </a:lnTo>
                <a:lnTo>
                  <a:pt x="977631" y="69225"/>
                </a:lnTo>
                <a:close/>
                <a:moveTo>
                  <a:pt x="899760" y="207458"/>
                </a:moveTo>
                <a:lnTo>
                  <a:pt x="951692" y="207458"/>
                </a:lnTo>
                <a:lnTo>
                  <a:pt x="951692" y="69225"/>
                </a:lnTo>
                <a:lnTo>
                  <a:pt x="899760" y="69009"/>
                </a:lnTo>
                <a:lnTo>
                  <a:pt x="899760" y="207458"/>
                </a:lnTo>
                <a:close/>
                <a:moveTo>
                  <a:pt x="112565" y="34477"/>
                </a:moveTo>
                <a:lnTo>
                  <a:pt x="112565" y="103756"/>
                </a:lnTo>
                <a:lnTo>
                  <a:pt x="86355" y="103756"/>
                </a:lnTo>
                <a:lnTo>
                  <a:pt x="112565" y="34477"/>
                </a:lnTo>
                <a:close/>
                <a:moveTo>
                  <a:pt x="69225" y="0"/>
                </a:moveTo>
                <a:lnTo>
                  <a:pt x="0" y="207458"/>
                </a:lnTo>
                <a:lnTo>
                  <a:pt x="51878" y="207458"/>
                </a:lnTo>
                <a:lnTo>
                  <a:pt x="77817" y="138450"/>
                </a:lnTo>
                <a:lnTo>
                  <a:pt x="112565" y="138450"/>
                </a:lnTo>
                <a:lnTo>
                  <a:pt x="112565" y="207458"/>
                </a:lnTo>
                <a:lnTo>
                  <a:pt x="164443" y="207458"/>
                </a:lnTo>
                <a:lnTo>
                  <a:pt x="164443" y="0"/>
                </a:lnTo>
                <a:lnTo>
                  <a:pt x="69225" y="0"/>
                </a:lnTo>
                <a:close/>
                <a:moveTo>
                  <a:pt x="190328" y="207458"/>
                </a:moveTo>
                <a:lnTo>
                  <a:pt x="242206" y="207458"/>
                </a:lnTo>
                <a:lnTo>
                  <a:pt x="242206" y="0"/>
                </a:lnTo>
                <a:lnTo>
                  <a:pt x="190328" y="0"/>
                </a:lnTo>
                <a:lnTo>
                  <a:pt x="190328" y="207458"/>
                </a:lnTo>
                <a:close/>
                <a:moveTo>
                  <a:pt x="328615" y="0"/>
                </a:moveTo>
                <a:lnTo>
                  <a:pt x="328615" y="207458"/>
                </a:lnTo>
                <a:lnTo>
                  <a:pt x="380493" y="207458"/>
                </a:lnTo>
                <a:lnTo>
                  <a:pt x="380493" y="103756"/>
                </a:lnTo>
                <a:lnTo>
                  <a:pt x="415295" y="103756"/>
                </a:lnTo>
                <a:lnTo>
                  <a:pt x="415295" y="172981"/>
                </a:lnTo>
                <a:lnTo>
                  <a:pt x="432641" y="207458"/>
                </a:lnTo>
                <a:lnTo>
                  <a:pt x="553798" y="207458"/>
                </a:lnTo>
                <a:lnTo>
                  <a:pt x="553798" y="103756"/>
                </a:lnTo>
                <a:lnTo>
                  <a:pt x="579737" y="103756"/>
                </a:lnTo>
                <a:lnTo>
                  <a:pt x="579737" y="207458"/>
                </a:lnTo>
                <a:lnTo>
                  <a:pt x="631561" y="207458"/>
                </a:lnTo>
                <a:lnTo>
                  <a:pt x="631561" y="103756"/>
                </a:lnTo>
                <a:lnTo>
                  <a:pt x="657555" y="103756"/>
                </a:lnTo>
                <a:lnTo>
                  <a:pt x="657555" y="207458"/>
                </a:lnTo>
                <a:lnTo>
                  <a:pt x="709433" y="207458"/>
                </a:lnTo>
                <a:lnTo>
                  <a:pt x="709433" y="103756"/>
                </a:lnTo>
                <a:lnTo>
                  <a:pt x="735372" y="103756"/>
                </a:lnTo>
                <a:lnTo>
                  <a:pt x="735372" y="69225"/>
                </a:lnTo>
                <a:lnTo>
                  <a:pt x="709433" y="69225"/>
                </a:lnTo>
                <a:lnTo>
                  <a:pt x="709433" y="34477"/>
                </a:lnTo>
                <a:lnTo>
                  <a:pt x="657555" y="34477"/>
                </a:lnTo>
                <a:lnTo>
                  <a:pt x="657555" y="69225"/>
                </a:lnTo>
                <a:lnTo>
                  <a:pt x="631561" y="69225"/>
                </a:lnTo>
                <a:lnTo>
                  <a:pt x="631561" y="34477"/>
                </a:lnTo>
                <a:lnTo>
                  <a:pt x="579737" y="34477"/>
                </a:lnTo>
                <a:lnTo>
                  <a:pt x="579737" y="69225"/>
                </a:lnTo>
                <a:lnTo>
                  <a:pt x="501650" y="69225"/>
                </a:lnTo>
                <a:lnTo>
                  <a:pt x="501650" y="172927"/>
                </a:lnTo>
                <a:lnTo>
                  <a:pt x="467173" y="172927"/>
                </a:lnTo>
                <a:lnTo>
                  <a:pt x="467173" y="69225"/>
                </a:lnTo>
                <a:lnTo>
                  <a:pt x="380547" y="69225"/>
                </a:lnTo>
                <a:lnTo>
                  <a:pt x="380547" y="34477"/>
                </a:lnTo>
                <a:lnTo>
                  <a:pt x="467173" y="34477"/>
                </a:lnTo>
                <a:lnTo>
                  <a:pt x="467173" y="0"/>
                </a:lnTo>
                <a:lnTo>
                  <a:pt x="328669" y="0"/>
                </a:lnTo>
                <a:close/>
                <a:moveTo>
                  <a:pt x="899760" y="34477"/>
                </a:moveTo>
                <a:lnTo>
                  <a:pt x="951692" y="34477"/>
                </a:lnTo>
                <a:lnTo>
                  <a:pt x="951692" y="0"/>
                </a:lnTo>
                <a:lnTo>
                  <a:pt x="899760" y="0"/>
                </a:lnTo>
                <a:lnTo>
                  <a:pt x="899760" y="34477"/>
                </a:lnTo>
                <a:close/>
              </a:path>
            </a:pathLst>
          </a:custGeom>
          <a:solidFill>
            <a:schemeClr val="bg1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C9D9692-48C7-DABD-E24B-9748091E3AED}"/>
              </a:ext>
            </a:extLst>
          </p:cNvPr>
          <p:cNvSpPr/>
          <p:nvPr userDrawn="1"/>
        </p:nvSpPr>
        <p:spPr>
          <a:xfrm>
            <a:off x="9951588" y="538699"/>
            <a:ext cx="415348" cy="363146"/>
          </a:xfrm>
          <a:custGeom>
            <a:avLst/>
            <a:gdLst>
              <a:gd name="connsiteX0" fmla="*/ 156175 w 415348"/>
              <a:gd name="connsiteY0" fmla="*/ 155526 h 363146"/>
              <a:gd name="connsiteX1" fmla="*/ 207782 w 415348"/>
              <a:gd name="connsiteY1" fmla="*/ 103864 h 363146"/>
              <a:gd name="connsiteX2" fmla="*/ 259390 w 415348"/>
              <a:gd name="connsiteY2" fmla="*/ 155526 h 363146"/>
              <a:gd name="connsiteX3" fmla="*/ 207782 w 415348"/>
              <a:gd name="connsiteY3" fmla="*/ 207296 h 363146"/>
              <a:gd name="connsiteX4" fmla="*/ 156175 w 415348"/>
              <a:gd name="connsiteY4" fmla="*/ 155526 h 363146"/>
              <a:gd name="connsiteX5" fmla="*/ 207782 w 415348"/>
              <a:gd name="connsiteY5" fmla="*/ 0 h 363146"/>
              <a:gd name="connsiteX6" fmla="*/ 0 w 415348"/>
              <a:gd name="connsiteY6" fmla="*/ 207350 h 363146"/>
              <a:gd name="connsiteX7" fmla="*/ 51986 w 415348"/>
              <a:gd name="connsiteY7" fmla="*/ 259228 h 363146"/>
              <a:gd name="connsiteX8" fmla="*/ 104134 w 415348"/>
              <a:gd name="connsiteY8" fmla="*/ 207512 h 363146"/>
              <a:gd name="connsiteX9" fmla="*/ 155904 w 415348"/>
              <a:gd name="connsiteY9" fmla="*/ 259499 h 363146"/>
              <a:gd name="connsiteX10" fmla="*/ 103810 w 415348"/>
              <a:gd name="connsiteY10" fmla="*/ 311593 h 363146"/>
              <a:gd name="connsiteX11" fmla="*/ 155904 w 415348"/>
              <a:gd name="connsiteY11" fmla="*/ 363147 h 363146"/>
              <a:gd name="connsiteX12" fmla="*/ 206810 w 415348"/>
              <a:gd name="connsiteY12" fmla="*/ 311431 h 363146"/>
              <a:gd name="connsiteX13" fmla="*/ 259823 w 415348"/>
              <a:gd name="connsiteY13" fmla="*/ 363147 h 363146"/>
              <a:gd name="connsiteX14" fmla="*/ 311485 w 415348"/>
              <a:gd name="connsiteY14" fmla="*/ 311431 h 363146"/>
              <a:gd name="connsiteX15" fmla="*/ 259823 w 415348"/>
              <a:gd name="connsiteY15" fmla="*/ 259769 h 363146"/>
              <a:gd name="connsiteX16" fmla="*/ 312025 w 415348"/>
              <a:gd name="connsiteY16" fmla="*/ 207512 h 363146"/>
              <a:gd name="connsiteX17" fmla="*/ 363633 w 415348"/>
              <a:gd name="connsiteY17" fmla="*/ 259228 h 363146"/>
              <a:gd name="connsiteX18" fmla="*/ 415349 w 415348"/>
              <a:gd name="connsiteY18" fmla="*/ 207512 h 363146"/>
              <a:gd name="connsiteX19" fmla="*/ 207782 w 415348"/>
              <a:gd name="connsiteY19" fmla="*/ 0 h 36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5348" h="363146">
                <a:moveTo>
                  <a:pt x="156175" y="155526"/>
                </a:moveTo>
                <a:lnTo>
                  <a:pt x="207782" y="103864"/>
                </a:lnTo>
                <a:lnTo>
                  <a:pt x="259390" y="155526"/>
                </a:lnTo>
                <a:lnTo>
                  <a:pt x="207782" y="207296"/>
                </a:lnTo>
                <a:lnTo>
                  <a:pt x="156175" y="155526"/>
                </a:lnTo>
                <a:close/>
                <a:moveTo>
                  <a:pt x="207782" y="0"/>
                </a:moveTo>
                <a:lnTo>
                  <a:pt x="0" y="207350"/>
                </a:lnTo>
                <a:lnTo>
                  <a:pt x="51986" y="259228"/>
                </a:lnTo>
                <a:lnTo>
                  <a:pt x="104134" y="207512"/>
                </a:lnTo>
                <a:lnTo>
                  <a:pt x="155904" y="259499"/>
                </a:lnTo>
                <a:lnTo>
                  <a:pt x="103810" y="311593"/>
                </a:lnTo>
                <a:lnTo>
                  <a:pt x="155904" y="363147"/>
                </a:lnTo>
                <a:lnTo>
                  <a:pt x="206810" y="311431"/>
                </a:lnTo>
                <a:lnTo>
                  <a:pt x="259823" y="363147"/>
                </a:lnTo>
                <a:lnTo>
                  <a:pt x="311485" y="311431"/>
                </a:lnTo>
                <a:lnTo>
                  <a:pt x="259823" y="259769"/>
                </a:lnTo>
                <a:lnTo>
                  <a:pt x="312025" y="207512"/>
                </a:lnTo>
                <a:lnTo>
                  <a:pt x="363633" y="259228"/>
                </a:lnTo>
                <a:lnTo>
                  <a:pt x="415349" y="207512"/>
                </a:lnTo>
                <a:lnTo>
                  <a:pt x="207782" y="0"/>
                </a:lnTo>
                <a:close/>
              </a:path>
            </a:pathLst>
          </a:custGeom>
          <a:solidFill>
            <a:schemeClr val="accent2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A519CC-A663-F358-9865-6872EB7A187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257942 w 12192000"/>
              <a:gd name="connsiteY0" fmla="*/ 746373 h 6858000"/>
              <a:gd name="connsiteX1" fmla="*/ 11292689 w 12192000"/>
              <a:gd name="connsiteY1" fmla="*/ 746373 h 6858000"/>
              <a:gd name="connsiteX2" fmla="*/ 11292689 w 12192000"/>
              <a:gd name="connsiteY2" fmla="*/ 815598 h 6858000"/>
              <a:gd name="connsiteX3" fmla="*/ 11257942 w 12192000"/>
              <a:gd name="connsiteY3" fmla="*/ 815598 h 6858000"/>
              <a:gd name="connsiteX4" fmla="*/ 11206118 w 12192000"/>
              <a:gd name="connsiteY4" fmla="*/ 746266 h 6858000"/>
              <a:gd name="connsiteX5" fmla="*/ 11206118 w 12192000"/>
              <a:gd name="connsiteY5" fmla="*/ 746373 h 6858000"/>
              <a:gd name="connsiteX6" fmla="*/ 11206064 w 12192000"/>
              <a:gd name="connsiteY6" fmla="*/ 746373 h 6858000"/>
              <a:gd name="connsiteX7" fmla="*/ 10730352 w 12192000"/>
              <a:gd name="connsiteY7" fmla="*/ 746103 h 6858000"/>
              <a:gd name="connsiteX8" fmla="*/ 10730352 w 12192000"/>
              <a:gd name="connsiteY8" fmla="*/ 780851 h 6858000"/>
              <a:gd name="connsiteX9" fmla="*/ 10782285 w 12192000"/>
              <a:gd name="connsiteY9" fmla="*/ 780851 h 6858000"/>
              <a:gd name="connsiteX10" fmla="*/ 10782285 w 12192000"/>
              <a:gd name="connsiteY10" fmla="*/ 746103 h 6858000"/>
              <a:gd name="connsiteX11" fmla="*/ 11448323 w 12192000"/>
              <a:gd name="connsiteY11" fmla="*/ 711842 h 6858000"/>
              <a:gd name="connsiteX12" fmla="*/ 11448323 w 12192000"/>
              <a:gd name="connsiteY12" fmla="*/ 850075 h 6858000"/>
              <a:gd name="connsiteX13" fmla="*/ 11500201 w 12192000"/>
              <a:gd name="connsiteY13" fmla="*/ 850075 h 6858000"/>
              <a:gd name="connsiteX14" fmla="*/ 11500201 w 12192000"/>
              <a:gd name="connsiteY14" fmla="*/ 746373 h 6858000"/>
              <a:gd name="connsiteX15" fmla="*/ 11526140 w 12192000"/>
              <a:gd name="connsiteY15" fmla="*/ 746373 h 6858000"/>
              <a:gd name="connsiteX16" fmla="*/ 11526140 w 12192000"/>
              <a:gd name="connsiteY16" fmla="*/ 850075 h 6858000"/>
              <a:gd name="connsiteX17" fmla="*/ 11578019 w 12192000"/>
              <a:gd name="connsiteY17" fmla="*/ 850075 h 6858000"/>
              <a:gd name="connsiteX18" fmla="*/ 11578019 w 12192000"/>
              <a:gd name="connsiteY18" fmla="*/ 746373 h 6858000"/>
              <a:gd name="connsiteX19" fmla="*/ 11604012 w 12192000"/>
              <a:gd name="connsiteY19" fmla="*/ 746373 h 6858000"/>
              <a:gd name="connsiteX20" fmla="*/ 11604012 w 12192000"/>
              <a:gd name="connsiteY20" fmla="*/ 850075 h 6858000"/>
              <a:gd name="connsiteX21" fmla="*/ 11655890 w 12192000"/>
              <a:gd name="connsiteY21" fmla="*/ 850075 h 6858000"/>
              <a:gd name="connsiteX22" fmla="*/ 11655890 w 12192000"/>
              <a:gd name="connsiteY22" fmla="*/ 746373 h 6858000"/>
              <a:gd name="connsiteX23" fmla="*/ 11638759 w 12192000"/>
              <a:gd name="connsiteY23" fmla="*/ 711842 h 6858000"/>
              <a:gd name="connsiteX24" fmla="*/ 11448377 w 12192000"/>
              <a:gd name="connsiteY24" fmla="*/ 711842 h 6858000"/>
              <a:gd name="connsiteX25" fmla="*/ 11370506 w 12192000"/>
              <a:gd name="connsiteY25" fmla="*/ 711626 h 6858000"/>
              <a:gd name="connsiteX26" fmla="*/ 11370506 w 12192000"/>
              <a:gd name="connsiteY26" fmla="*/ 850075 h 6858000"/>
              <a:gd name="connsiteX27" fmla="*/ 11422438 w 12192000"/>
              <a:gd name="connsiteY27" fmla="*/ 850075 h 6858000"/>
              <a:gd name="connsiteX28" fmla="*/ 11422438 w 12192000"/>
              <a:gd name="connsiteY28" fmla="*/ 711842 h 6858000"/>
              <a:gd name="connsiteX29" fmla="*/ 10583311 w 12192000"/>
              <a:gd name="connsiteY29" fmla="*/ 677094 h 6858000"/>
              <a:gd name="connsiteX30" fmla="*/ 10583311 w 12192000"/>
              <a:gd name="connsiteY30" fmla="*/ 746373 h 6858000"/>
              <a:gd name="connsiteX31" fmla="*/ 10557101 w 12192000"/>
              <a:gd name="connsiteY31" fmla="*/ 746373 h 6858000"/>
              <a:gd name="connsiteX32" fmla="*/ 11370506 w 12192000"/>
              <a:gd name="connsiteY32" fmla="*/ 642617 h 6858000"/>
              <a:gd name="connsiteX33" fmla="*/ 11370506 w 12192000"/>
              <a:gd name="connsiteY33" fmla="*/ 677094 h 6858000"/>
              <a:gd name="connsiteX34" fmla="*/ 11422438 w 12192000"/>
              <a:gd name="connsiteY34" fmla="*/ 677094 h 6858000"/>
              <a:gd name="connsiteX35" fmla="*/ 11422438 w 12192000"/>
              <a:gd name="connsiteY35" fmla="*/ 642617 h 6858000"/>
              <a:gd name="connsiteX36" fmla="*/ 10799361 w 12192000"/>
              <a:gd name="connsiteY36" fmla="*/ 642617 h 6858000"/>
              <a:gd name="connsiteX37" fmla="*/ 10799361 w 12192000"/>
              <a:gd name="connsiteY37" fmla="*/ 850075 h 6858000"/>
              <a:gd name="connsiteX38" fmla="*/ 10851239 w 12192000"/>
              <a:gd name="connsiteY38" fmla="*/ 850075 h 6858000"/>
              <a:gd name="connsiteX39" fmla="*/ 10851239 w 12192000"/>
              <a:gd name="connsiteY39" fmla="*/ 746373 h 6858000"/>
              <a:gd name="connsiteX40" fmla="*/ 10886041 w 12192000"/>
              <a:gd name="connsiteY40" fmla="*/ 746373 h 6858000"/>
              <a:gd name="connsiteX41" fmla="*/ 10886041 w 12192000"/>
              <a:gd name="connsiteY41" fmla="*/ 815598 h 6858000"/>
              <a:gd name="connsiteX42" fmla="*/ 10903387 w 12192000"/>
              <a:gd name="connsiteY42" fmla="*/ 850075 h 6858000"/>
              <a:gd name="connsiteX43" fmla="*/ 11024544 w 12192000"/>
              <a:gd name="connsiteY43" fmla="*/ 850075 h 6858000"/>
              <a:gd name="connsiteX44" fmla="*/ 11024544 w 12192000"/>
              <a:gd name="connsiteY44" fmla="*/ 746373 h 6858000"/>
              <a:gd name="connsiteX45" fmla="*/ 11050483 w 12192000"/>
              <a:gd name="connsiteY45" fmla="*/ 746373 h 6858000"/>
              <a:gd name="connsiteX46" fmla="*/ 11050483 w 12192000"/>
              <a:gd name="connsiteY46" fmla="*/ 850075 h 6858000"/>
              <a:gd name="connsiteX47" fmla="*/ 11102307 w 12192000"/>
              <a:gd name="connsiteY47" fmla="*/ 850075 h 6858000"/>
              <a:gd name="connsiteX48" fmla="*/ 11102307 w 12192000"/>
              <a:gd name="connsiteY48" fmla="*/ 746373 h 6858000"/>
              <a:gd name="connsiteX49" fmla="*/ 11128301 w 12192000"/>
              <a:gd name="connsiteY49" fmla="*/ 746373 h 6858000"/>
              <a:gd name="connsiteX50" fmla="*/ 11128301 w 12192000"/>
              <a:gd name="connsiteY50" fmla="*/ 850075 h 6858000"/>
              <a:gd name="connsiteX51" fmla="*/ 11180179 w 12192000"/>
              <a:gd name="connsiteY51" fmla="*/ 850075 h 6858000"/>
              <a:gd name="connsiteX52" fmla="*/ 11180179 w 12192000"/>
              <a:gd name="connsiteY52" fmla="*/ 746373 h 6858000"/>
              <a:gd name="connsiteX53" fmla="*/ 11206064 w 12192000"/>
              <a:gd name="connsiteY53" fmla="*/ 746373 h 6858000"/>
              <a:gd name="connsiteX54" fmla="*/ 11206064 w 12192000"/>
              <a:gd name="connsiteY54" fmla="*/ 815598 h 6858000"/>
              <a:gd name="connsiteX55" fmla="*/ 11223464 w 12192000"/>
              <a:gd name="connsiteY55" fmla="*/ 850075 h 6858000"/>
              <a:gd name="connsiteX56" fmla="*/ 11344567 w 12192000"/>
              <a:gd name="connsiteY56" fmla="*/ 850075 h 6858000"/>
              <a:gd name="connsiteX57" fmla="*/ 11344567 w 12192000"/>
              <a:gd name="connsiteY57" fmla="*/ 711842 h 6858000"/>
              <a:gd name="connsiteX58" fmla="*/ 11223464 w 12192000"/>
              <a:gd name="connsiteY58" fmla="*/ 711842 h 6858000"/>
              <a:gd name="connsiteX59" fmla="*/ 11206118 w 12192000"/>
              <a:gd name="connsiteY59" fmla="*/ 746266 h 6858000"/>
              <a:gd name="connsiteX60" fmla="*/ 11206118 w 12192000"/>
              <a:gd name="connsiteY60" fmla="*/ 711842 h 6858000"/>
              <a:gd name="connsiteX61" fmla="*/ 11180179 w 12192000"/>
              <a:gd name="connsiteY61" fmla="*/ 711842 h 6858000"/>
              <a:gd name="connsiteX62" fmla="*/ 11180179 w 12192000"/>
              <a:gd name="connsiteY62" fmla="*/ 677094 h 6858000"/>
              <a:gd name="connsiteX63" fmla="*/ 11128301 w 12192000"/>
              <a:gd name="connsiteY63" fmla="*/ 677094 h 6858000"/>
              <a:gd name="connsiteX64" fmla="*/ 11128301 w 12192000"/>
              <a:gd name="connsiteY64" fmla="*/ 711842 h 6858000"/>
              <a:gd name="connsiteX65" fmla="*/ 11102307 w 12192000"/>
              <a:gd name="connsiteY65" fmla="*/ 711842 h 6858000"/>
              <a:gd name="connsiteX66" fmla="*/ 11102307 w 12192000"/>
              <a:gd name="connsiteY66" fmla="*/ 677094 h 6858000"/>
              <a:gd name="connsiteX67" fmla="*/ 11050483 w 12192000"/>
              <a:gd name="connsiteY67" fmla="*/ 677094 h 6858000"/>
              <a:gd name="connsiteX68" fmla="*/ 11050483 w 12192000"/>
              <a:gd name="connsiteY68" fmla="*/ 711842 h 6858000"/>
              <a:gd name="connsiteX69" fmla="*/ 10972396 w 12192000"/>
              <a:gd name="connsiteY69" fmla="*/ 711842 h 6858000"/>
              <a:gd name="connsiteX70" fmla="*/ 10972396 w 12192000"/>
              <a:gd name="connsiteY70" fmla="*/ 815544 h 6858000"/>
              <a:gd name="connsiteX71" fmla="*/ 10937919 w 12192000"/>
              <a:gd name="connsiteY71" fmla="*/ 815544 h 6858000"/>
              <a:gd name="connsiteX72" fmla="*/ 10937919 w 12192000"/>
              <a:gd name="connsiteY72" fmla="*/ 711842 h 6858000"/>
              <a:gd name="connsiteX73" fmla="*/ 10851293 w 12192000"/>
              <a:gd name="connsiteY73" fmla="*/ 711842 h 6858000"/>
              <a:gd name="connsiteX74" fmla="*/ 10851293 w 12192000"/>
              <a:gd name="connsiteY74" fmla="*/ 677094 h 6858000"/>
              <a:gd name="connsiteX75" fmla="*/ 10937919 w 12192000"/>
              <a:gd name="connsiteY75" fmla="*/ 677094 h 6858000"/>
              <a:gd name="connsiteX76" fmla="*/ 10937919 w 12192000"/>
              <a:gd name="connsiteY76" fmla="*/ 642617 h 6858000"/>
              <a:gd name="connsiteX77" fmla="*/ 10799415 w 12192000"/>
              <a:gd name="connsiteY77" fmla="*/ 642617 h 6858000"/>
              <a:gd name="connsiteX78" fmla="*/ 10661074 w 12192000"/>
              <a:gd name="connsiteY78" fmla="*/ 642617 h 6858000"/>
              <a:gd name="connsiteX79" fmla="*/ 10661074 w 12192000"/>
              <a:gd name="connsiteY79" fmla="*/ 850075 h 6858000"/>
              <a:gd name="connsiteX80" fmla="*/ 10712952 w 12192000"/>
              <a:gd name="connsiteY80" fmla="*/ 850075 h 6858000"/>
              <a:gd name="connsiteX81" fmla="*/ 10712952 w 12192000"/>
              <a:gd name="connsiteY81" fmla="*/ 642617 h 6858000"/>
              <a:gd name="connsiteX82" fmla="*/ 10539971 w 12192000"/>
              <a:gd name="connsiteY82" fmla="*/ 642617 h 6858000"/>
              <a:gd name="connsiteX83" fmla="*/ 10470746 w 12192000"/>
              <a:gd name="connsiteY83" fmla="*/ 850075 h 6858000"/>
              <a:gd name="connsiteX84" fmla="*/ 10522624 w 12192000"/>
              <a:gd name="connsiteY84" fmla="*/ 850075 h 6858000"/>
              <a:gd name="connsiteX85" fmla="*/ 10548563 w 12192000"/>
              <a:gd name="connsiteY85" fmla="*/ 781067 h 6858000"/>
              <a:gd name="connsiteX86" fmla="*/ 10583311 w 12192000"/>
              <a:gd name="connsiteY86" fmla="*/ 781067 h 6858000"/>
              <a:gd name="connsiteX87" fmla="*/ 10583311 w 12192000"/>
              <a:gd name="connsiteY87" fmla="*/ 850075 h 6858000"/>
              <a:gd name="connsiteX88" fmla="*/ 10635189 w 12192000"/>
              <a:gd name="connsiteY88" fmla="*/ 850075 h 6858000"/>
              <a:gd name="connsiteX89" fmla="*/ 10635189 w 12192000"/>
              <a:gd name="connsiteY89" fmla="*/ 642617 h 6858000"/>
              <a:gd name="connsiteX90" fmla="*/ 10159370 w 12192000"/>
              <a:gd name="connsiteY90" fmla="*/ 642563 h 6858000"/>
              <a:gd name="connsiteX91" fmla="*/ 10210978 w 12192000"/>
              <a:gd name="connsiteY91" fmla="*/ 694225 h 6858000"/>
              <a:gd name="connsiteX92" fmla="*/ 10159370 w 12192000"/>
              <a:gd name="connsiteY92" fmla="*/ 745995 h 6858000"/>
              <a:gd name="connsiteX93" fmla="*/ 10107763 w 12192000"/>
              <a:gd name="connsiteY93" fmla="*/ 694225 h 6858000"/>
              <a:gd name="connsiteX94" fmla="*/ 10159370 w 12192000"/>
              <a:gd name="connsiteY94" fmla="*/ 538699 h 6858000"/>
              <a:gd name="connsiteX95" fmla="*/ 9951588 w 12192000"/>
              <a:gd name="connsiteY95" fmla="*/ 746049 h 6858000"/>
              <a:gd name="connsiteX96" fmla="*/ 10003574 w 12192000"/>
              <a:gd name="connsiteY96" fmla="*/ 797927 h 6858000"/>
              <a:gd name="connsiteX97" fmla="*/ 10055722 w 12192000"/>
              <a:gd name="connsiteY97" fmla="*/ 746211 h 6858000"/>
              <a:gd name="connsiteX98" fmla="*/ 10107492 w 12192000"/>
              <a:gd name="connsiteY98" fmla="*/ 798198 h 6858000"/>
              <a:gd name="connsiteX99" fmla="*/ 10055398 w 12192000"/>
              <a:gd name="connsiteY99" fmla="*/ 850292 h 6858000"/>
              <a:gd name="connsiteX100" fmla="*/ 10107492 w 12192000"/>
              <a:gd name="connsiteY100" fmla="*/ 901846 h 6858000"/>
              <a:gd name="connsiteX101" fmla="*/ 10158398 w 12192000"/>
              <a:gd name="connsiteY101" fmla="*/ 850130 h 6858000"/>
              <a:gd name="connsiteX102" fmla="*/ 10211411 w 12192000"/>
              <a:gd name="connsiteY102" fmla="*/ 901846 h 6858000"/>
              <a:gd name="connsiteX103" fmla="*/ 10263073 w 12192000"/>
              <a:gd name="connsiteY103" fmla="*/ 850130 h 6858000"/>
              <a:gd name="connsiteX104" fmla="*/ 10211411 w 12192000"/>
              <a:gd name="connsiteY104" fmla="*/ 798468 h 6858000"/>
              <a:gd name="connsiteX105" fmla="*/ 10263613 w 12192000"/>
              <a:gd name="connsiteY105" fmla="*/ 746211 h 6858000"/>
              <a:gd name="connsiteX106" fmla="*/ 10315221 w 12192000"/>
              <a:gd name="connsiteY106" fmla="*/ 797927 h 6858000"/>
              <a:gd name="connsiteX107" fmla="*/ 10366937 w 12192000"/>
              <a:gd name="connsiteY107" fmla="*/ 746211 h 6858000"/>
              <a:gd name="connsiteX108" fmla="*/ 0 w 12192000"/>
              <a:gd name="connsiteY108" fmla="*/ 0 h 6858000"/>
              <a:gd name="connsiteX109" fmla="*/ 12192000 w 12192000"/>
              <a:gd name="connsiteY109" fmla="*/ 0 h 6858000"/>
              <a:gd name="connsiteX110" fmla="*/ 12192000 w 12192000"/>
              <a:gd name="connsiteY110" fmla="*/ 6858000 h 6858000"/>
              <a:gd name="connsiteX111" fmla="*/ 0 w 121920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2192000" h="6858000">
                <a:moveTo>
                  <a:pt x="11257942" y="746373"/>
                </a:moveTo>
                <a:lnTo>
                  <a:pt x="11292689" y="746373"/>
                </a:lnTo>
                <a:lnTo>
                  <a:pt x="11292689" y="815598"/>
                </a:lnTo>
                <a:lnTo>
                  <a:pt x="11257942" y="815598"/>
                </a:lnTo>
                <a:close/>
                <a:moveTo>
                  <a:pt x="11206118" y="746266"/>
                </a:moveTo>
                <a:lnTo>
                  <a:pt x="11206118" y="746373"/>
                </a:lnTo>
                <a:lnTo>
                  <a:pt x="11206064" y="746373"/>
                </a:lnTo>
                <a:close/>
                <a:moveTo>
                  <a:pt x="10730352" y="746103"/>
                </a:moveTo>
                <a:lnTo>
                  <a:pt x="10730352" y="780851"/>
                </a:lnTo>
                <a:lnTo>
                  <a:pt x="10782285" y="780851"/>
                </a:lnTo>
                <a:lnTo>
                  <a:pt x="10782285" y="746103"/>
                </a:lnTo>
                <a:close/>
                <a:moveTo>
                  <a:pt x="11448323" y="711842"/>
                </a:moveTo>
                <a:lnTo>
                  <a:pt x="11448323" y="850075"/>
                </a:lnTo>
                <a:lnTo>
                  <a:pt x="11500201" y="850075"/>
                </a:lnTo>
                <a:lnTo>
                  <a:pt x="11500201" y="746373"/>
                </a:lnTo>
                <a:lnTo>
                  <a:pt x="11526140" y="746373"/>
                </a:lnTo>
                <a:lnTo>
                  <a:pt x="11526140" y="850075"/>
                </a:lnTo>
                <a:lnTo>
                  <a:pt x="11578019" y="850075"/>
                </a:lnTo>
                <a:lnTo>
                  <a:pt x="11578019" y="746373"/>
                </a:lnTo>
                <a:lnTo>
                  <a:pt x="11604012" y="746373"/>
                </a:lnTo>
                <a:lnTo>
                  <a:pt x="11604012" y="850075"/>
                </a:lnTo>
                <a:lnTo>
                  <a:pt x="11655890" y="850075"/>
                </a:lnTo>
                <a:lnTo>
                  <a:pt x="11655890" y="746373"/>
                </a:lnTo>
                <a:lnTo>
                  <a:pt x="11638759" y="711842"/>
                </a:lnTo>
                <a:lnTo>
                  <a:pt x="11448377" y="711842"/>
                </a:lnTo>
                <a:close/>
                <a:moveTo>
                  <a:pt x="11370506" y="711626"/>
                </a:moveTo>
                <a:lnTo>
                  <a:pt x="11370506" y="850075"/>
                </a:lnTo>
                <a:lnTo>
                  <a:pt x="11422438" y="850075"/>
                </a:lnTo>
                <a:lnTo>
                  <a:pt x="11422438" y="711842"/>
                </a:lnTo>
                <a:close/>
                <a:moveTo>
                  <a:pt x="10583311" y="677094"/>
                </a:moveTo>
                <a:lnTo>
                  <a:pt x="10583311" y="746373"/>
                </a:lnTo>
                <a:lnTo>
                  <a:pt x="10557101" y="746373"/>
                </a:lnTo>
                <a:close/>
                <a:moveTo>
                  <a:pt x="11370506" y="642617"/>
                </a:moveTo>
                <a:lnTo>
                  <a:pt x="11370506" y="677094"/>
                </a:lnTo>
                <a:lnTo>
                  <a:pt x="11422438" y="677094"/>
                </a:lnTo>
                <a:lnTo>
                  <a:pt x="11422438" y="642617"/>
                </a:lnTo>
                <a:close/>
                <a:moveTo>
                  <a:pt x="10799361" y="642617"/>
                </a:moveTo>
                <a:lnTo>
                  <a:pt x="10799361" y="850075"/>
                </a:lnTo>
                <a:lnTo>
                  <a:pt x="10851239" y="850075"/>
                </a:lnTo>
                <a:lnTo>
                  <a:pt x="10851239" y="746373"/>
                </a:lnTo>
                <a:lnTo>
                  <a:pt x="10886041" y="746373"/>
                </a:lnTo>
                <a:lnTo>
                  <a:pt x="10886041" y="815598"/>
                </a:lnTo>
                <a:lnTo>
                  <a:pt x="10903387" y="850075"/>
                </a:lnTo>
                <a:lnTo>
                  <a:pt x="11024544" y="850075"/>
                </a:lnTo>
                <a:lnTo>
                  <a:pt x="11024544" y="746373"/>
                </a:lnTo>
                <a:lnTo>
                  <a:pt x="11050483" y="746373"/>
                </a:lnTo>
                <a:lnTo>
                  <a:pt x="11050483" y="850075"/>
                </a:lnTo>
                <a:lnTo>
                  <a:pt x="11102307" y="850075"/>
                </a:lnTo>
                <a:lnTo>
                  <a:pt x="11102307" y="746373"/>
                </a:lnTo>
                <a:lnTo>
                  <a:pt x="11128301" y="746373"/>
                </a:lnTo>
                <a:lnTo>
                  <a:pt x="11128301" y="850075"/>
                </a:lnTo>
                <a:lnTo>
                  <a:pt x="11180179" y="850075"/>
                </a:lnTo>
                <a:lnTo>
                  <a:pt x="11180179" y="746373"/>
                </a:lnTo>
                <a:lnTo>
                  <a:pt x="11206064" y="746373"/>
                </a:lnTo>
                <a:lnTo>
                  <a:pt x="11206064" y="815598"/>
                </a:lnTo>
                <a:lnTo>
                  <a:pt x="11223464" y="850075"/>
                </a:lnTo>
                <a:lnTo>
                  <a:pt x="11344567" y="850075"/>
                </a:lnTo>
                <a:lnTo>
                  <a:pt x="11344567" y="711842"/>
                </a:lnTo>
                <a:lnTo>
                  <a:pt x="11223464" y="711842"/>
                </a:lnTo>
                <a:lnTo>
                  <a:pt x="11206118" y="746266"/>
                </a:lnTo>
                <a:lnTo>
                  <a:pt x="11206118" y="711842"/>
                </a:lnTo>
                <a:lnTo>
                  <a:pt x="11180179" y="711842"/>
                </a:lnTo>
                <a:lnTo>
                  <a:pt x="11180179" y="677094"/>
                </a:lnTo>
                <a:lnTo>
                  <a:pt x="11128301" y="677094"/>
                </a:lnTo>
                <a:lnTo>
                  <a:pt x="11128301" y="711842"/>
                </a:lnTo>
                <a:lnTo>
                  <a:pt x="11102307" y="711842"/>
                </a:lnTo>
                <a:lnTo>
                  <a:pt x="11102307" y="677094"/>
                </a:lnTo>
                <a:lnTo>
                  <a:pt x="11050483" y="677094"/>
                </a:lnTo>
                <a:lnTo>
                  <a:pt x="11050483" y="711842"/>
                </a:lnTo>
                <a:lnTo>
                  <a:pt x="10972396" y="711842"/>
                </a:lnTo>
                <a:lnTo>
                  <a:pt x="10972396" y="815544"/>
                </a:lnTo>
                <a:lnTo>
                  <a:pt x="10937919" y="815544"/>
                </a:lnTo>
                <a:lnTo>
                  <a:pt x="10937919" y="711842"/>
                </a:lnTo>
                <a:lnTo>
                  <a:pt x="10851293" y="711842"/>
                </a:lnTo>
                <a:lnTo>
                  <a:pt x="10851293" y="677094"/>
                </a:lnTo>
                <a:lnTo>
                  <a:pt x="10937919" y="677094"/>
                </a:lnTo>
                <a:lnTo>
                  <a:pt x="10937919" y="642617"/>
                </a:lnTo>
                <a:lnTo>
                  <a:pt x="10799415" y="642617"/>
                </a:lnTo>
                <a:close/>
                <a:moveTo>
                  <a:pt x="10661074" y="642617"/>
                </a:moveTo>
                <a:lnTo>
                  <a:pt x="10661074" y="850075"/>
                </a:lnTo>
                <a:lnTo>
                  <a:pt x="10712952" y="850075"/>
                </a:lnTo>
                <a:lnTo>
                  <a:pt x="10712952" y="642617"/>
                </a:lnTo>
                <a:close/>
                <a:moveTo>
                  <a:pt x="10539971" y="642617"/>
                </a:moveTo>
                <a:lnTo>
                  <a:pt x="10470746" y="850075"/>
                </a:lnTo>
                <a:lnTo>
                  <a:pt x="10522624" y="850075"/>
                </a:lnTo>
                <a:lnTo>
                  <a:pt x="10548563" y="781067"/>
                </a:lnTo>
                <a:lnTo>
                  <a:pt x="10583311" y="781067"/>
                </a:lnTo>
                <a:lnTo>
                  <a:pt x="10583311" y="850075"/>
                </a:lnTo>
                <a:lnTo>
                  <a:pt x="10635189" y="850075"/>
                </a:lnTo>
                <a:lnTo>
                  <a:pt x="10635189" y="642617"/>
                </a:lnTo>
                <a:close/>
                <a:moveTo>
                  <a:pt x="10159370" y="642563"/>
                </a:moveTo>
                <a:lnTo>
                  <a:pt x="10210978" y="694225"/>
                </a:lnTo>
                <a:lnTo>
                  <a:pt x="10159370" y="745995"/>
                </a:lnTo>
                <a:lnTo>
                  <a:pt x="10107763" y="694225"/>
                </a:lnTo>
                <a:close/>
                <a:moveTo>
                  <a:pt x="10159370" y="538699"/>
                </a:moveTo>
                <a:lnTo>
                  <a:pt x="9951588" y="746049"/>
                </a:lnTo>
                <a:lnTo>
                  <a:pt x="10003574" y="797927"/>
                </a:lnTo>
                <a:lnTo>
                  <a:pt x="10055722" y="746211"/>
                </a:lnTo>
                <a:lnTo>
                  <a:pt x="10107492" y="798198"/>
                </a:lnTo>
                <a:lnTo>
                  <a:pt x="10055398" y="850292"/>
                </a:lnTo>
                <a:lnTo>
                  <a:pt x="10107492" y="901846"/>
                </a:lnTo>
                <a:lnTo>
                  <a:pt x="10158398" y="850130"/>
                </a:lnTo>
                <a:lnTo>
                  <a:pt x="10211411" y="901846"/>
                </a:lnTo>
                <a:lnTo>
                  <a:pt x="10263073" y="850130"/>
                </a:lnTo>
                <a:lnTo>
                  <a:pt x="10211411" y="798468"/>
                </a:lnTo>
                <a:lnTo>
                  <a:pt x="10263613" y="746211"/>
                </a:lnTo>
                <a:lnTo>
                  <a:pt x="10315221" y="797927"/>
                </a:lnTo>
                <a:lnTo>
                  <a:pt x="10366937" y="74621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673821" y="6462506"/>
            <a:ext cx="639762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90787E-775F-4151-B1DC-26D9CC0B194C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4E7DF76B-C887-78D9-DED9-9F1A8AD7D51E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539748" y="6462506"/>
            <a:ext cx="5556251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</p:spTree>
    <p:extLst>
      <p:ext uri="{BB962C8B-B14F-4D97-AF65-F5344CB8AC3E}">
        <p14:creationId xmlns:p14="http://schemas.microsoft.com/office/powerpoint/2010/main" val="3079961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55" userDrawn="1">
          <p15:clr>
            <a:srgbClr val="FBAE40"/>
          </p15:clr>
        </p15:guide>
        <p15:guide id="2" pos="5081" userDrawn="1">
          <p15:clr>
            <a:srgbClr val="FBAE40"/>
          </p15:clr>
        </p15:guide>
        <p15:guide id="3" orient="horz" pos="2330" userDrawn="1">
          <p15:clr>
            <a:srgbClr val="FBAE40"/>
          </p15:clr>
        </p15:guide>
        <p15:guide id="4" orient="horz" pos="250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Slide_dark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C7B99DC-6A49-AA7B-C884-F03DC6C439D0}"/>
              </a:ext>
            </a:extLst>
          </p:cNvPr>
          <p:cNvSpPr/>
          <p:nvPr userDrawn="1"/>
        </p:nvSpPr>
        <p:spPr>
          <a:xfrm>
            <a:off x="10470746" y="642617"/>
            <a:ext cx="1185143" cy="207458"/>
          </a:xfrm>
          <a:custGeom>
            <a:avLst/>
            <a:gdLst>
              <a:gd name="connsiteX0" fmla="*/ 259606 w 1185143"/>
              <a:gd name="connsiteY0" fmla="*/ 138234 h 207458"/>
              <a:gd name="connsiteX1" fmla="*/ 311539 w 1185143"/>
              <a:gd name="connsiteY1" fmla="*/ 138234 h 207458"/>
              <a:gd name="connsiteX2" fmla="*/ 311539 w 1185143"/>
              <a:gd name="connsiteY2" fmla="*/ 103486 h 207458"/>
              <a:gd name="connsiteX3" fmla="*/ 259606 w 1185143"/>
              <a:gd name="connsiteY3" fmla="*/ 103486 h 207458"/>
              <a:gd name="connsiteX4" fmla="*/ 259606 w 1185143"/>
              <a:gd name="connsiteY4" fmla="*/ 138234 h 207458"/>
              <a:gd name="connsiteX5" fmla="*/ 787196 w 1185143"/>
              <a:gd name="connsiteY5" fmla="*/ 103756 h 207458"/>
              <a:gd name="connsiteX6" fmla="*/ 821943 w 1185143"/>
              <a:gd name="connsiteY6" fmla="*/ 103756 h 207458"/>
              <a:gd name="connsiteX7" fmla="*/ 821943 w 1185143"/>
              <a:gd name="connsiteY7" fmla="*/ 172981 h 207458"/>
              <a:gd name="connsiteX8" fmla="*/ 787196 w 1185143"/>
              <a:gd name="connsiteY8" fmla="*/ 172981 h 207458"/>
              <a:gd name="connsiteX9" fmla="*/ 787196 w 1185143"/>
              <a:gd name="connsiteY9" fmla="*/ 103756 h 207458"/>
              <a:gd name="connsiteX10" fmla="*/ 752718 w 1185143"/>
              <a:gd name="connsiteY10" fmla="*/ 69225 h 207458"/>
              <a:gd name="connsiteX11" fmla="*/ 735318 w 1185143"/>
              <a:gd name="connsiteY11" fmla="*/ 103756 h 207458"/>
              <a:gd name="connsiteX12" fmla="*/ 735318 w 1185143"/>
              <a:gd name="connsiteY12" fmla="*/ 172981 h 207458"/>
              <a:gd name="connsiteX13" fmla="*/ 752718 w 1185143"/>
              <a:gd name="connsiteY13" fmla="*/ 207458 h 207458"/>
              <a:gd name="connsiteX14" fmla="*/ 873821 w 1185143"/>
              <a:gd name="connsiteY14" fmla="*/ 207458 h 207458"/>
              <a:gd name="connsiteX15" fmla="*/ 873821 w 1185143"/>
              <a:gd name="connsiteY15" fmla="*/ 69225 h 207458"/>
              <a:gd name="connsiteX16" fmla="*/ 752718 w 1185143"/>
              <a:gd name="connsiteY16" fmla="*/ 69225 h 207458"/>
              <a:gd name="connsiteX17" fmla="*/ 977577 w 1185143"/>
              <a:gd name="connsiteY17" fmla="*/ 69225 h 207458"/>
              <a:gd name="connsiteX18" fmla="*/ 977577 w 1185143"/>
              <a:gd name="connsiteY18" fmla="*/ 207458 h 207458"/>
              <a:gd name="connsiteX19" fmla="*/ 1029455 w 1185143"/>
              <a:gd name="connsiteY19" fmla="*/ 207458 h 207458"/>
              <a:gd name="connsiteX20" fmla="*/ 1029455 w 1185143"/>
              <a:gd name="connsiteY20" fmla="*/ 103756 h 207458"/>
              <a:gd name="connsiteX21" fmla="*/ 1055394 w 1185143"/>
              <a:gd name="connsiteY21" fmla="*/ 103756 h 207458"/>
              <a:gd name="connsiteX22" fmla="*/ 1055394 w 1185143"/>
              <a:gd name="connsiteY22" fmla="*/ 207458 h 207458"/>
              <a:gd name="connsiteX23" fmla="*/ 1107273 w 1185143"/>
              <a:gd name="connsiteY23" fmla="*/ 207458 h 207458"/>
              <a:gd name="connsiteX24" fmla="*/ 1107273 w 1185143"/>
              <a:gd name="connsiteY24" fmla="*/ 103756 h 207458"/>
              <a:gd name="connsiteX25" fmla="*/ 1133266 w 1185143"/>
              <a:gd name="connsiteY25" fmla="*/ 103756 h 207458"/>
              <a:gd name="connsiteX26" fmla="*/ 1133266 w 1185143"/>
              <a:gd name="connsiteY26" fmla="*/ 207458 h 207458"/>
              <a:gd name="connsiteX27" fmla="*/ 1185144 w 1185143"/>
              <a:gd name="connsiteY27" fmla="*/ 207458 h 207458"/>
              <a:gd name="connsiteX28" fmla="*/ 1185144 w 1185143"/>
              <a:gd name="connsiteY28" fmla="*/ 103756 h 207458"/>
              <a:gd name="connsiteX29" fmla="*/ 1168013 w 1185143"/>
              <a:gd name="connsiteY29" fmla="*/ 69225 h 207458"/>
              <a:gd name="connsiteX30" fmla="*/ 977631 w 1185143"/>
              <a:gd name="connsiteY30" fmla="*/ 69225 h 207458"/>
              <a:gd name="connsiteX31" fmla="*/ 899760 w 1185143"/>
              <a:gd name="connsiteY31" fmla="*/ 207458 h 207458"/>
              <a:gd name="connsiteX32" fmla="*/ 951692 w 1185143"/>
              <a:gd name="connsiteY32" fmla="*/ 207458 h 207458"/>
              <a:gd name="connsiteX33" fmla="*/ 951692 w 1185143"/>
              <a:gd name="connsiteY33" fmla="*/ 69225 h 207458"/>
              <a:gd name="connsiteX34" fmla="*/ 899760 w 1185143"/>
              <a:gd name="connsiteY34" fmla="*/ 69009 h 207458"/>
              <a:gd name="connsiteX35" fmla="*/ 899760 w 1185143"/>
              <a:gd name="connsiteY35" fmla="*/ 207458 h 207458"/>
              <a:gd name="connsiteX36" fmla="*/ 112565 w 1185143"/>
              <a:gd name="connsiteY36" fmla="*/ 34477 h 207458"/>
              <a:gd name="connsiteX37" fmla="*/ 112565 w 1185143"/>
              <a:gd name="connsiteY37" fmla="*/ 103756 h 207458"/>
              <a:gd name="connsiteX38" fmla="*/ 86355 w 1185143"/>
              <a:gd name="connsiteY38" fmla="*/ 103756 h 207458"/>
              <a:gd name="connsiteX39" fmla="*/ 112565 w 1185143"/>
              <a:gd name="connsiteY39" fmla="*/ 34477 h 207458"/>
              <a:gd name="connsiteX40" fmla="*/ 69225 w 1185143"/>
              <a:gd name="connsiteY40" fmla="*/ 0 h 207458"/>
              <a:gd name="connsiteX41" fmla="*/ 0 w 1185143"/>
              <a:gd name="connsiteY41" fmla="*/ 207458 h 207458"/>
              <a:gd name="connsiteX42" fmla="*/ 51878 w 1185143"/>
              <a:gd name="connsiteY42" fmla="*/ 207458 h 207458"/>
              <a:gd name="connsiteX43" fmla="*/ 77817 w 1185143"/>
              <a:gd name="connsiteY43" fmla="*/ 138450 h 207458"/>
              <a:gd name="connsiteX44" fmla="*/ 112565 w 1185143"/>
              <a:gd name="connsiteY44" fmla="*/ 138450 h 207458"/>
              <a:gd name="connsiteX45" fmla="*/ 112565 w 1185143"/>
              <a:gd name="connsiteY45" fmla="*/ 207458 h 207458"/>
              <a:gd name="connsiteX46" fmla="*/ 164443 w 1185143"/>
              <a:gd name="connsiteY46" fmla="*/ 207458 h 207458"/>
              <a:gd name="connsiteX47" fmla="*/ 164443 w 1185143"/>
              <a:gd name="connsiteY47" fmla="*/ 0 h 207458"/>
              <a:gd name="connsiteX48" fmla="*/ 69225 w 1185143"/>
              <a:gd name="connsiteY48" fmla="*/ 0 h 207458"/>
              <a:gd name="connsiteX49" fmla="*/ 190328 w 1185143"/>
              <a:gd name="connsiteY49" fmla="*/ 207458 h 207458"/>
              <a:gd name="connsiteX50" fmla="*/ 242206 w 1185143"/>
              <a:gd name="connsiteY50" fmla="*/ 207458 h 207458"/>
              <a:gd name="connsiteX51" fmla="*/ 242206 w 1185143"/>
              <a:gd name="connsiteY51" fmla="*/ 0 h 207458"/>
              <a:gd name="connsiteX52" fmla="*/ 190328 w 1185143"/>
              <a:gd name="connsiteY52" fmla="*/ 0 h 207458"/>
              <a:gd name="connsiteX53" fmla="*/ 190328 w 1185143"/>
              <a:gd name="connsiteY53" fmla="*/ 207458 h 207458"/>
              <a:gd name="connsiteX54" fmla="*/ 328615 w 1185143"/>
              <a:gd name="connsiteY54" fmla="*/ 0 h 207458"/>
              <a:gd name="connsiteX55" fmla="*/ 328615 w 1185143"/>
              <a:gd name="connsiteY55" fmla="*/ 207458 h 207458"/>
              <a:gd name="connsiteX56" fmla="*/ 380493 w 1185143"/>
              <a:gd name="connsiteY56" fmla="*/ 207458 h 207458"/>
              <a:gd name="connsiteX57" fmla="*/ 380493 w 1185143"/>
              <a:gd name="connsiteY57" fmla="*/ 103756 h 207458"/>
              <a:gd name="connsiteX58" fmla="*/ 415295 w 1185143"/>
              <a:gd name="connsiteY58" fmla="*/ 103756 h 207458"/>
              <a:gd name="connsiteX59" fmla="*/ 415295 w 1185143"/>
              <a:gd name="connsiteY59" fmla="*/ 172981 h 207458"/>
              <a:gd name="connsiteX60" fmla="*/ 432641 w 1185143"/>
              <a:gd name="connsiteY60" fmla="*/ 207458 h 207458"/>
              <a:gd name="connsiteX61" fmla="*/ 553798 w 1185143"/>
              <a:gd name="connsiteY61" fmla="*/ 207458 h 207458"/>
              <a:gd name="connsiteX62" fmla="*/ 553798 w 1185143"/>
              <a:gd name="connsiteY62" fmla="*/ 103756 h 207458"/>
              <a:gd name="connsiteX63" fmla="*/ 579737 w 1185143"/>
              <a:gd name="connsiteY63" fmla="*/ 103756 h 207458"/>
              <a:gd name="connsiteX64" fmla="*/ 579737 w 1185143"/>
              <a:gd name="connsiteY64" fmla="*/ 207458 h 207458"/>
              <a:gd name="connsiteX65" fmla="*/ 631561 w 1185143"/>
              <a:gd name="connsiteY65" fmla="*/ 207458 h 207458"/>
              <a:gd name="connsiteX66" fmla="*/ 631561 w 1185143"/>
              <a:gd name="connsiteY66" fmla="*/ 103756 h 207458"/>
              <a:gd name="connsiteX67" fmla="*/ 657555 w 1185143"/>
              <a:gd name="connsiteY67" fmla="*/ 103756 h 207458"/>
              <a:gd name="connsiteX68" fmla="*/ 657555 w 1185143"/>
              <a:gd name="connsiteY68" fmla="*/ 207458 h 207458"/>
              <a:gd name="connsiteX69" fmla="*/ 709433 w 1185143"/>
              <a:gd name="connsiteY69" fmla="*/ 207458 h 207458"/>
              <a:gd name="connsiteX70" fmla="*/ 709433 w 1185143"/>
              <a:gd name="connsiteY70" fmla="*/ 103756 h 207458"/>
              <a:gd name="connsiteX71" fmla="*/ 735372 w 1185143"/>
              <a:gd name="connsiteY71" fmla="*/ 103756 h 207458"/>
              <a:gd name="connsiteX72" fmla="*/ 735372 w 1185143"/>
              <a:gd name="connsiteY72" fmla="*/ 69225 h 207458"/>
              <a:gd name="connsiteX73" fmla="*/ 709433 w 1185143"/>
              <a:gd name="connsiteY73" fmla="*/ 69225 h 207458"/>
              <a:gd name="connsiteX74" fmla="*/ 709433 w 1185143"/>
              <a:gd name="connsiteY74" fmla="*/ 34477 h 207458"/>
              <a:gd name="connsiteX75" fmla="*/ 657555 w 1185143"/>
              <a:gd name="connsiteY75" fmla="*/ 34477 h 207458"/>
              <a:gd name="connsiteX76" fmla="*/ 657555 w 1185143"/>
              <a:gd name="connsiteY76" fmla="*/ 69225 h 207458"/>
              <a:gd name="connsiteX77" fmla="*/ 631561 w 1185143"/>
              <a:gd name="connsiteY77" fmla="*/ 69225 h 207458"/>
              <a:gd name="connsiteX78" fmla="*/ 631561 w 1185143"/>
              <a:gd name="connsiteY78" fmla="*/ 34477 h 207458"/>
              <a:gd name="connsiteX79" fmla="*/ 579737 w 1185143"/>
              <a:gd name="connsiteY79" fmla="*/ 34477 h 207458"/>
              <a:gd name="connsiteX80" fmla="*/ 579737 w 1185143"/>
              <a:gd name="connsiteY80" fmla="*/ 69225 h 207458"/>
              <a:gd name="connsiteX81" fmla="*/ 501650 w 1185143"/>
              <a:gd name="connsiteY81" fmla="*/ 69225 h 207458"/>
              <a:gd name="connsiteX82" fmla="*/ 501650 w 1185143"/>
              <a:gd name="connsiteY82" fmla="*/ 172927 h 207458"/>
              <a:gd name="connsiteX83" fmla="*/ 467173 w 1185143"/>
              <a:gd name="connsiteY83" fmla="*/ 172927 h 207458"/>
              <a:gd name="connsiteX84" fmla="*/ 467173 w 1185143"/>
              <a:gd name="connsiteY84" fmla="*/ 69225 h 207458"/>
              <a:gd name="connsiteX85" fmla="*/ 380547 w 1185143"/>
              <a:gd name="connsiteY85" fmla="*/ 69225 h 207458"/>
              <a:gd name="connsiteX86" fmla="*/ 380547 w 1185143"/>
              <a:gd name="connsiteY86" fmla="*/ 34477 h 207458"/>
              <a:gd name="connsiteX87" fmla="*/ 467173 w 1185143"/>
              <a:gd name="connsiteY87" fmla="*/ 34477 h 207458"/>
              <a:gd name="connsiteX88" fmla="*/ 467173 w 1185143"/>
              <a:gd name="connsiteY88" fmla="*/ 0 h 207458"/>
              <a:gd name="connsiteX89" fmla="*/ 328669 w 1185143"/>
              <a:gd name="connsiteY89" fmla="*/ 0 h 207458"/>
              <a:gd name="connsiteX90" fmla="*/ 899760 w 1185143"/>
              <a:gd name="connsiteY90" fmla="*/ 34477 h 207458"/>
              <a:gd name="connsiteX91" fmla="*/ 951692 w 1185143"/>
              <a:gd name="connsiteY91" fmla="*/ 34477 h 207458"/>
              <a:gd name="connsiteX92" fmla="*/ 951692 w 1185143"/>
              <a:gd name="connsiteY92" fmla="*/ 0 h 207458"/>
              <a:gd name="connsiteX93" fmla="*/ 899760 w 1185143"/>
              <a:gd name="connsiteY93" fmla="*/ 0 h 207458"/>
              <a:gd name="connsiteX94" fmla="*/ 899760 w 1185143"/>
              <a:gd name="connsiteY94" fmla="*/ 34477 h 20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185143" h="207458">
                <a:moveTo>
                  <a:pt x="259606" y="138234"/>
                </a:moveTo>
                <a:lnTo>
                  <a:pt x="311539" y="138234"/>
                </a:lnTo>
                <a:lnTo>
                  <a:pt x="311539" y="103486"/>
                </a:lnTo>
                <a:lnTo>
                  <a:pt x="259606" y="103486"/>
                </a:lnTo>
                <a:lnTo>
                  <a:pt x="259606" y="138234"/>
                </a:lnTo>
                <a:close/>
                <a:moveTo>
                  <a:pt x="787196" y="103756"/>
                </a:moveTo>
                <a:lnTo>
                  <a:pt x="821943" y="103756"/>
                </a:lnTo>
                <a:lnTo>
                  <a:pt x="821943" y="172981"/>
                </a:lnTo>
                <a:lnTo>
                  <a:pt x="787196" y="172981"/>
                </a:lnTo>
                <a:lnTo>
                  <a:pt x="787196" y="103756"/>
                </a:lnTo>
                <a:close/>
                <a:moveTo>
                  <a:pt x="752718" y="69225"/>
                </a:moveTo>
                <a:lnTo>
                  <a:pt x="735318" y="103756"/>
                </a:lnTo>
                <a:lnTo>
                  <a:pt x="735318" y="172981"/>
                </a:lnTo>
                <a:lnTo>
                  <a:pt x="752718" y="207458"/>
                </a:lnTo>
                <a:lnTo>
                  <a:pt x="873821" y="207458"/>
                </a:lnTo>
                <a:lnTo>
                  <a:pt x="873821" y="69225"/>
                </a:lnTo>
                <a:lnTo>
                  <a:pt x="752718" y="69225"/>
                </a:lnTo>
                <a:close/>
                <a:moveTo>
                  <a:pt x="977577" y="69225"/>
                </a:moveTo>
                <a:lnTo>
                  <a:pt x="977577" y="207458"/>
                </a:lnTo>
                <a:lnTo>
                  <a:pt x="1029455" y="207458"/>
                </a:lnTo>
                <a:lnTo>
                  <a:pt x="1029455" y="103756"/>
                </a:lnTo>
                <a:lnTo>
                  <a:pt x="1055394" y="103756"/>
                </a:lnTo>
                <a:lnTo>
                  <a:pt x="1055394" y="207458"/>
                </a:lnTo>
                <a:lnTo>
                  <a:pt x="1107273" y="207458"/>
                </a:lnTo>
                <a:lnTo>
                  <a:pt x="1107273" y="103756"/>
                </a:lnTo>
                <a:lnTo>
                  <a:pt x="1133266" y="103756"/>
                </a:lnTo>
                <a:lnTo>
                  <a:pt x="1133266" y="207458"/>
                </a:lnTo>
                <a:lnTo>
                  <a:pt x="1185144" y="207458"/>
                </a:lnTo>
                <a:lnTo>
                  <a:pt x="1185144" y="103756"/>
                </a:lnTo>
                <a:lnTo>
                  <a:pt x="1168013" y="69225"/>
                </a:lnTo>
                <a:lnTo>
                  <a:pt x="977631" y="69225"/>
                </a:lnTo>
                <a:close/>
                <a:moveTo>
                  <a:pt x="899760" y="207458"/>
                </a:moveTo>
                <a:lnTo>
                  <a:pt x="951692" y="207458"/>
                </a:lnTo>
                <a:lnTo>
                  <a:pt x="951692" y="69225"/>
                </a:lnTo>
                <a:lnTo>
                  <a:pt x="899760" y="69009"/>
                </a:lnTo>
                <a:lnTo>
                  <a:pt x="899760" y="207458"/>
                </a:lnTo>
                <a:close/>
                <a:moveTo>
                  <a:pt x="112565" y="34477"/>
                </a:moveTo>
                <a:lnTo>
                  <a:pt x="112565" y="103756"/>
                </a:lnTo>
                <a:lnTo>
                  <a:pt x="86355" y="103756"/>
                </a:lnTo>
                <a:lnTo>
                  <a:pt x="112565" y="34477"/>
                </a:lnTo>
                <a:close/>
                <a:moveTo>
                  <a:pt x="69225" y="0"/>
                </a:moveTo>
                <a:lnTo>
                  <a:pt x="0" y="207458"/>
                </a:lnTo>
                <a:lnTo>
                  <a:pt x="51878" y="207458"/>
                </a:lnTo>
                <a:lnTo>
                  <a:pt x="77817" y="138450"/>
                </a:lnTo>
                <a:lnTo>
                  <a:pt x="112565" y="138450"/>
                </a:lnTo>
                <a:lnTo>
                  <a:pt x="112565" y="207458"/>
                </a:lnTo>
                <a:lnTo>
                  <a:pt x="164443" y="207458"/>
                </a:lnTo>
                <a:lnTo>
                  <a:pt x="164443" y="0"/>
                </a:lnTo>
                <a:lnTo>
                  <a:pt x="69225" y="0"/>
                </a:lnTo>
                <a:close/>
                <a:moveTo>
                  <a:pt x="190328" y="207458"/>
                </a:moveTo>
                <a:lnTo>
                  <a:pt x="242206" y="207458"/>
                </a:lnTo>
                <a:lnTo>
                  <a:pt x="242206" y="0"/>
                </a:lnTo>
                <a:lnTo>
                  <a:pt x="190328" y="0"/>
                </a:lnTo>
                <a:lnTo>
                  <a:pt x="190328" y="207458"/>
                </a:lnTo>
                <a:close/>
                <a:moveTo>
                  <a:pt x="328615" y="0"/>
                </a:moveTo>
                <a:lnTo>
                  <a:pt x="328615" y="207458"/>
                </a:lnTo>
                <a:lnTo>
                  <a:pt x="380493" y="207458"/>
                </a:lnTo>
                <a:lnTo>
                  <a:pt x="380493" y="103756"/>
                </a:lnTo>
                <a:lnTo>
                  <a:pt x="415295" y="103756"/>
                </a:lnTo>
                <a:lnTo>
                  <a:pt x="415295" y="172981"/>
                </a:lnTo>
                <a:lnTo>
                  <a:pt x="432641" y="207458"/>
                </a:lnTo>
                <a:lnTo>
                  <a:pt x="553798" y="207458"/>
                </a:lnTo>
                <a:lnTo>
                  <a:pt x="553798" y="103756"/>
                </a:lnTo>
                <a:lnTo>
                  <a:pt x="579737" y="103756"/>
                </a:lnTo>
                <a:lnTo>
                  <a:pt x="579737" y="207458"/>
                </a:lnTo>
                <a:lnTo>
                  <a:pt x="631561" y="207458"/>
                </a:lnTo>
                <a:lnTo>
                  <a:pt x="631561" y="103756"/>
                </a:lnTo>
                <a:lnTo>
                  <a:pt x="657555" y="103756"/>
                </a:lnTo>
                <a:lnTo>
                  <a:pt x="657555" y="207458"/>
                </a:lnTo>
                <a:lnTo>
                  <a:pt x="709433" y="207458"/>
                </a:lnTo>
                <a:lnTo>
                  <a:pt x="709433" y="103756"/>
                </a:lnTo>
                <a:lnTo>
                  <a:pt x="735372" y="103756"/>
                </a:lnTo>
                <a:lnTo>
                  <a:pt x="735372" y="69225"/>
                </a:lnTo>
                <a:lnTo>
                  <a:pt x="709433" y="69225"/>
                </a:lnTo>
                <a:lnTo>
                  <a:pt x="709433" y="34477"/>
                </a:lnTo>
                <a:lnTo>
                  <a:pt x="657555" y="34477"/>
                </a:lnTo>
                <a:lnTo>
                  <a:pt x="657555" y="69225"/>
                </a:lnTo>
                <a:lnTo>
                  <a:pt x="631561" y="69225"/>
                </a:lnTo>
                <a:lnTo>
                  <a:pt x="631561" y="34477"/>
                </a:lnTo>
                <a:lnTo>
                  <a:pt x="579737" y="34477"/>
                </a:lnTo>
                <a:lnTo>
                  <a:pt x="579737" y="69225"/>
                </a:lnTo>
                <a:lnTo>
                  <a:pt x="501650" y="69225"/>
                </a:lnTo>
                <a:lnTo>
                  <a:pt x="501650" y="172927"/>
                </a:lnTo>
                <a:lnTo>
                  <a:pt x="467173" y="172927"/>
                </a:lnTo>
                <a:lnTo>
                  <a:pt x="467173" y="69225"/>
                </a:lnTo>
                <a:lnTo>
                  <a:pt x="380547" y="69225"/>
                </a:lnTo>
                <a:lnTo>
                  <a:pt x="380547" y="34477"/>
                </a:lnTo>
                <a:lnTo>
                  <a:pt x="467173" y="34477"/>
                </a:lnTo>
                <a:lnTo>
                  <a:pt x="467173" y="0"/>
                </a:lnTo>
                <a:lnTo>
                  <a:pt x="328669" y="0"/>
                </a:lnTo>
                <a:close/>
                <a:moveTo>
                  <a:pt x="899760" y="34477"/>
                </a:moveTo>
                <a:lnTo>
                  <a:pt x="951692" y="34477"/>
                </a:lnTo>
                <a:lnTo>
                  <a:pt x="951692" y="0"/>
                </a:lnTo>
                <a:lnTo>
                  <a:pt x="899760" y="0"/>
                </a:lnTo>
                <a:lnTo>
                  <a:pt x="899760" y="34477"/>
                </a:lnTo>
                <a:close/>
              </a:path>
            </a:pathLst>
          </a:custGeom>
          <a:solidFill>
            <a:schemeClr val="bg1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C9D9692-48C7-DABD-E24B-9748091E3AED}"/>
              </a:ext>
            </a:extLst>
          </p:cNvPr>
          <p:cNvSpPr/>
          <p:nvPr userDrawn="1"/>
        </p:nvSpPr>
        <p:spPr>
          <a:xfrm>
            <a:off x="9951588" y="538699"/>
            <a:ext cx="415348" cy="363146"/>
          </a:xfrm>
          <a:custGeom>
            <a:avLst/>
            <a:gdLst>
              <a:gd name="connsiteX0" fmla="*/ 156175 w 415348"/>
              <a:gd name="connsiteY0" fmla="*/ 155526 h 363146"/>
              <a:gd name="connsiteX1" fmla="*/ 207782 w 415348"/>
              <a:gd name="connsiteY1" fmla="*/ 103864 h 363146"/>
              <a:gd name="connsiteX2" fmla="*/ 259390 w 415348"/>
              <a:gd name="connsiteY2" fmla="*/ 155526 h 363146"/>
              <a:gd name="connsiteX3" fmla="*/ 207782 w 415348"/>
              <a:gd name="connsiteY3" fmla="*/ 207296 h 363146"/>
              <a:gd name="connsiteX4" fmla="*/ 156175 w 415348"/>
              <a:gd name="connsiteY4" fmla="*/ 155526 h 363146"/>
              <a:gd name="connsiteX5" fmla="*/ 207782 w 415348"/>
              <a:gd name="connsiteY5" fmla="*/ 0 h 363146"/>
              <a:gd name="connsiteX6" fmla="*/ 0 w 415348"/>
              <a:gd name="connsiteY6" fmla="*/ 207350 h 363146"/>
              <a:gd name="connsiteX7" fmla="*/ 51986 w 415348"/>
              <a:gd name="connsiteY7" fmla="*/ 259228 h 363146"/>
              <a:gd name="connsiteX8" fmla="*/ 104134 w 415348"/>
              <a:gd name="connsiteY8" fmla="*/ 207512 h 363146"/>
              <a:gd name="connsiteX9" fmla="*/ 155904 w 415348"/>
              <a:gd name="connsiteY9" fmla="*/ 259499 h 363146"/>
              <a:gd name="connsiteX10" fmla="*/ 103810 w 415348"/>
              <a:gd name="connsiteY10" fmla="*/ 311593 h 363146"/>
              <a:gd name="connsiteX11" fmla="*/ 155904 w 415348"/>
              <a:gd name="connsiteY11" fmla="*/ 363147 h 363146"/>
              <a:gd name="connsiteX12" fmla="*/ 206810 w 415348"/>
              <a:gd name="connsiteY12" fmla="*/ 311431 h 363146"/>
              <a:gd name="connsiteX13" fmla="*/ 259823 w 415348"/>
              <a:gd name="connsiteY13" fmla="*/ 363147 h 363146"/>
              <a:gd name="connsiteX14" fmla="*/ 311485 w 415348"/>
              <a:gd name="connsiteY14" fmla="*/ 311431 h 363146"/>
              <a:gd name="connsiteX15" fmla="*/ 259823 w 415348"/>
              <a:gd name="connsiteY15" fmla="*/ 259769 h 363146"/>
              <a:gd name="connsiteX16" fmla="*/ 312025 w 415348"/>
              <a:gd name="connsiteY16" fmla="*/ 207512 h 363146"/>
              <a:gd name="connsiteX17" fmla="*/ 363633 w 415348"/>
              <a:gd name="connsiteY17" fmla="*/ 259228 h 363146"/>
              <a:gd name="connsiteX18" fmla="*/ 415349 w 415348"/>
              <a:gd name="connsiteY18" fmla="*/ 207512 h 363146"/>
              <a:gd name="connsiteX19" fmla="*/ 207782 w 415348"/>
              <a:gd name="connsiteY19" fmla="*/ 0 h 36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5348" h="363146">
                <a:moveTo>
                  <a:pt x="156175" y="155526"/>
                </a:moveTo>
                <a:lnTo>
                  <a:pt x="207782" y="103864"/>
                </a:lnTo>
                <a:lnTo>
                  <a:pt x="259390" y="155526"/>
                </a:lnTo>
                <a:lnTo>
                  <a:pt x="207782" y="207296"/>
                </a:lnTo>
                <a:lnTo>
                  <a:pt x="156175" y="155526"/>
                </a:lnTo>
                <a:close/>
                <a:moveTo>
                  <a:pt x="207782" y="0"/>
                </a:moveTo>
                <a:lnTo>
                  <a:pt x="0" y="207350"/>
                </a:lnTo>
                <a:lnTo>
                  <a:pt x="51986" y="259228"/>
                </a:lnTo>
                <a:lnTo>
                  <a:pt x="104134" y="207512"/>
                </a:lnTo>
                <a:lnTo>
                  <a:pt x="155904" y="259499"/>
                </a:lnTo>
                <a:lnTo>
                  <a:pt x="103810" y="311593"/>
                </a:lnTo>
                <a:lnTo>
                  <a:pt x="155904" y="363147"/>
                </a:lnTo>
                <a:lnTo>
                  <a:pt x="206810" y="311431"/>
                </a:lnTo>
                <a:lnTo>
                  <a:pt x="259823" y="363147"/>
                </a:lnTo>
                <a:lnTo>
                  <a:pt x="311485" y="311431"/>
                </a:lnTo>
                <a:lnTo>
                  <a:pt x="259823" y="259769"/>
                </a:lnTo>
                <a:lnTo>
                  <a:pt x="312025" y="207512"/>
                </a:lnTo>
                <a:lnTo>
                  <a:pt x="363633" y="259228"/>
                </a:lnTo>
                <a:lnTo>
                  <a:pt x="415349" y="207512"/>
                </a:lnTo>
                <a:lnTo>
                  <a:pt x="207782" y="0"/>
                </a:lnTo>
                <a:close/>
              </a:path>
            </a:pathLst>
          </a:custGeom>
          <a:solidFill>
            <a:schemeClr val="bg1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A519CC-A663-F358-9865-6872EB7A187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257942 w 12192000"/>
              <a:gd name="connsiteY0" fmla="*/ 746373 h 6858000"/>
              <a:gd name="connsiteX1" fmla="*/ 11292689 w 12192000"/>
              <a:gd name="connsiteY1" fmla="*/ 746373 h 6858000"/>
              <a:gd name="connsiteX2" fmla="*/ 11292689 w 12192000"/>
              <a:gd name="connsiteY2" fmla="*/ 815598 h 6858000"/>
              <a:gd name="connsiteX3" fmla="*/ 11257942 w 12192000"/>
              <a:gd name="connsiteY3" fmla="*/ 815598 h 6858000"/>
              <a:gd name="connsiteX4" fmla="*/ 11206118 w 12192000"/>
              <a:gd name="connsiteY4" fmla="*/ 746266 h 6858000"/>
              <a:gd name="connsiteX5" fmla="*/ 11206118 w 12192000"/>
              <a:gd name="connsiteY5" fmla="*/ 746373 h 6858000"/>
              <a:gd name="connsiteX6" fmla="*/ 11206064 w 12192000"/>
              <a:gd name="connsiteY6" fmla="*/ 746373 h 6858000"/>
              <a:gd name="connsiteX7" fmla="*/ 10730352 w 12192000"/>
              <a:gd name="connsiteY7" fmla="*/ 746103 h 6858000"/>
              <a:gd name="connsiteX8" fmla="*/ 10730352 w 12192000"/>
              <a:gd name="connsiteY8" fmla="*/ 780851 h 6858000"/>
              <a:gd name="connsiteX9" fmla="*/ 10782285 w 12192000"/>
              <a:gd name="connsiteY9" fmla="*/ 780851 h 6858000"/>
              <a:gd name="connsiteX10" fmla="*/ 10782285 w 12192000"/>
              <a:gd name="connsiteY10" fmla="*/ 746103 h 6858000"/>
              <a:gd name="connsiteX11" fmla="*/ 11448323 w 12192000"/>
              <a:gd name="connsiteY11" fmla="*/ 711842 h 6858000"/>
              <a:gd name="connsiteX12" fmla="*/ 11448323 w 12192000"/>
              <a:gd name="connsiteY12" fmla="*/ 850075 h 6858000"/>
              <a:gd name="connsiteX13" fmla="*/ 11500201 w 12192000"/>
              <a:gd name="connsiteY13" fmla="*/ 850075 h 6858000"/>
              <a:gd name="connsiteX14" fmla="*/ 11500201 w 12192000"/>
              <a:gd name="connsiteY14" fmla="*/ 746373 h 6858000"/>
              <a:gd name="connsiteX15" fmla="*/ 11526140 w 12192000"/>
              <a:gd name="connsiteY15" fmla="*/ 746373 h 6858000"/>
              <a:gd name="connsiteX16" fmla="*/ 11526140 w 12192000"/>
              <a:gd name="connsiteY16" fmla="*/ 850075 h 6858000"/>
              <a:gd name="connsiteX17" fmla="*/ 11578019 w 12192000"/>
              <a:gd name="connsiteY17" fmla="*/ 850075 h 6858000"/>
              <a:gd name="connsiteX18" fmla="*/ 11578019 w 12192000"/>
              <a:gd name="connsiteY18" fmla="*/ 746373 h 6858000"/>
              <a:gd name="connsiteX19" fmla="*/ 11604012 w 12192000"/>
              <a:gd name="connsiteY19" fmla="*/ 746373 h 6858000"/>
              <a:gd name="connsiteX20" fmla="*/ 11604012 w 12192000"/>
              <a:gd name="connsiteY20" fmla="*/ 850075 h 6858000"/>
              <a:gd name="connsiteX21" fmla="*/ 11655890 w 12192000"/>
              <a:gd name="connsiteY21" fmla="*/ 850075 h 6858000"/>
              <a:gd name="connsiteX22" fmla="*/ 11655890 w 12192000"/>
              <a:gd name="connsiteY22" fmla="*/ 746373 h 6858000"/>
              <a:gd name="connsiteX23" fmla="*/ 11638759 w 12192000"/>
              <a:gd name="connsiteY23" fmla="*/ 711842 h 6858000"/>
              <a:gd name="connsiteX24" fmla="*/ 11448377 w 12192000"/>
              <a:gd name="connsiteY24" fmla="*/ 711842 h 6858000"/>
              <a:gd name="connsiteX25" fmla="*/ 11370506 w 12192000"/>
              <a:gd name="connsiteY25" fmla="*/ 711626 h 6858000"/>
              <a:gd name="connsiteX26" fmla="*/ 11370506 w 12192000"/>
              <a:gd name="connsiteY26" fmla="*/ 850075 h 6858000"/>
              <a:gd name="connsiteX27" fmla="*/ 11422438 w 12192000"/>
              <a:gd name="connsiteY27" fmla="*/ 850075 h 6858000"/>
              <a:gd name="connsiteX28" fmla="*/ 11422438 w 12192000"/>
              <a:gd name="connsiteY28" fmla="*/ 711842 h 6858000"/>
              <a:gd name="connsiteX29" fmla="*/ 10583311 w 12192000"/>
              <a:gd name="connsiteY29" fmla="*/ 677094 h 6858000"/>
              <a:gd name="connsiteX30" fmla="*/ 10583311 w 12192000"/>
              <a:gd name="connsiteY30" fmla="*/ 746373 h 6858000"/>
              <a:gd name="connsiteX31" fmla="*/ 10557101 w 12192000"/>
              <a:gd name="connsiteY31" fmla="*/ 746373 h 6858000"/>
              <a:gd name="connsiteX32" fmla="*/ 11370506 w 12192000"/>
              <a:gd name="connsiteY32" fmla="*/ 642617 h 6858000"/>
              <a:gd name="connsiteX33" fmla="*/ 11370506 w 12192000"/>
              <a:gd name="connsiteY33" fmla="*/ 677094 h 6858000"/>
              <a:gd name="connsiteX34" fmla="*/ 11422438 w 12192000"/>
              <a:gd name="connsiteY34" fmla="*/ 677094 h 6858000"/>
              <a:gd name="connsiteX35" fmla="*/ 11422438 w 12192000"/>
              <a:gd name="connsiteY35" fmla="*/ 642617 h 6858000"/>
              <a:gd name="connsiteX36" fmla="*/ 10799361 w 12192000"/>
              <a:gd name="connsiteY36" fmla="*/ 642617 h 6858000"/>
              <a:gd name="connsiteX37" fmla="*/ 10799361 w 12192000"/>
              <a:gd name="connsiteY37" fmla="*/ 850075 h 6858000"/>
              <a:gd name="connsiteX38" fmla="*/ 10851239 w 12192000"/>
              <a:gd name="connsiteY38" fmla="*/ 850075 h 6858000"/>
              <a:gd name="connsiteX39" fmla="*/ 10851239 w 12192000"/>
              <a:gd name="connsiteY39" fmla="*/ 746373 h 6858000"/>
              <a:gd name="connsiteX40" fmla="*/ 10886041 w 12192000"/>
              <a:gd name="connsiteY40" fmla="*/ 746373 h 6858000"/>
              <a:gd name="connsiteX41" fmla="*/ 10886041 w 12192000"/>
              <a:gd name="connsiteY41" fmla="*/ 815598 h 6858000"/>
              <a:gd name="connsiteX42" fmla="*/ 10903387 w 12192000"/>
              <a:gd name="connsiteY42" fmla="*/ 850075 h 6858000"/>
              <a:gd name="connsiteX43" fmla="*/ 11024544 w 12192000"/>
              <a:gd name="connsiteY43" fmla="*/ 850075 h 6858000"/>
              <a:gd name="connsiteX44" fmla="*/ 11024544 w 12192000"/>
              <a:gd name="connsiteY44" fmla="*/ 746373 h 6858000"/>
              <a:gd name="connsiteX45" fmla="*/ 11050483 w 12192000"/>
              <a:gd name="connsiteY45" fmla="*/ 746373 h 6858000"/>
              <a:gd name="connsiteX46" fmla="*/ 11050483 w 12192000"/>
              <a:gd name="connsiteY46" fmla="*/ 850075 h 6858000"/>
              <a:gd name="connsiteX47" fmla="*/ 11102307 w 12192000"/>
              <a:gd name="connsiteY47" fmla="*/ 850075 h 6858000"/>
              <a:gd name="connsiteX48" fmla="*/ 11102307 w 12192000"/>
              <a:gd name="connsiteY48" fmla="*/ 746373 h 6858000"/>
              <a:gd name="connsiteX49" fmla="*/ 11128301 w 12192000"/>
              <a:gd name="connsiteY49" fmla="*/ 746373 h 6858000"/>
              <a:gd name="connsiteX50" fmla="*/ 11128301 w 12192000"/>
              <a:gd name="connsiteY50" fmla="*/ 850075 h 6858000"/>
              <a:gd name="connsiteX51" fmla="*/ 11180179 w 12192000"/>
              <a:gd name="connsiteY51" fmla="*/ 850075 h 6858000"/>
              <a:gd name="connsiteX52" fmla="*/ 11180179 w 12192000"/>
              <a:gd name="connsiteY52" fmla="*/ 746373 h 6858000"/>
              <a:gd name="connsiteX53" fmla="*/ 11206064 w 12192000"/>
              <a:gd name="connsiteY53" fmla="*/ 746373 h 6858000"/>
              <a:gd name="connsiteX54" fmla="*/ 11206064 w 12192000"/>
              <a:gd name="connsiteY54" fmla="*/ 815598 h 6858000"/>
              <a:gd name="connsiteX55" fmla="*/ 11223464 w 12192000"/>
              <a:gd name="connsiteY55" fmla="*/ 850075 h 6858000"/>
              <a:gd name="connsiteX56" fmla="*/ 11344567 w 12192000"/>
              <a:gd name="connsiteY56" fmla="*/ 850075 h 6858000"/>
              <a:gd name="connsiteX57" fmla="*/ 11344567 w 12192000"/>
              <a:gd name="connsiteY57" fmla="*/ 711842 h 6858000"/>
              <a:gd name="connsiteX58" fmla="*/ 11223464 w 12192000"/>
              <a:gd name="connsiteY58" fmla="*/ 711842 h 6858000"/>
              <a:gd name="connsiteX59" fmla="*/ 11206118 w 12192000"/>
              <a:gd name="connsiteY59" fmla="*/ 746266 h 6858000"/>
              <a:gd name="connsiteX60" fmla="*/ 11206118 w 12192000"/>
              <a:gd name="connsiteY60" fmla="*/ 711842 h 6858000"/>
              <a:gd name="connsiteX61" fmla="*/ 11180179 w 12192000"/>
              <a:gd name="connsiteY61" fmla="*/ 711842 h 6858000"/>
              <a:gd name="connsiteX62" fmla="*/ 11180179 w 12192000"/>
              <a:gd name="connsiteY62" fmla="*/ 677094 h 6858000"/>
              <a:gd name="connsiteX63" fmla="*/ 11128301 w 12192000"/>
              <a:gd name="connsiteY63" fmla="*/ 677094 h 6858000"/>
              <a:gd name="connsiteX64" fmla="*/ 11128301 w 12192000"/>
              <a:gd name="connsiteY64" fmla="*/ 711842 h 6858000"/>
              <a:gd name="connsiteX65" fmla="*/ 11102307 w 12192000"/>
              <a:gd name="connsiteY65" fmla="*/ 711842 h 6858000"/>
              <a:gd name="connsiteX66" fmla="*/ 11102307 w 12192000"/>
              <a:gd name="connsiteY66" fmla="*/ 677094 h 6858000"/>
              <a:gd name="connsiteX67" fmla="*/ 11050483 w 12192000"/>
              <a:gd name="connsiteY67" fmla="*/ 677094 h 6858000"/>
              <a:gd name="connsiteX68" fmla="*/ 11050483 w 12192000"/>
              <a:gd name="connsiteY68" fmla="*/ 711842 h 6858000"/>
              <a:gd name="connsiteX69" fmla="*/ 10972396 w 12192000"/>
              <a:gd name="connsiteY69" fmla="*/ 711842 h 6858000"/>
              <a:gd name="connsiteX70" fmla="*/ 10972396 w 12192000"/>
              <a:gd name="connsiteY70" fmla="*/ 815544 h 6858000"/>
              <a:gd name="connsiteX71" fmla="*/ 10937919 w 12192000"/>
              <a:gd name="connsiteY71" fmla="*/ 815544 h 6858000"/>
              <a:gd name="connsiteX72" fmla="*/ 10937919 w 12192000"/>
              <a:gd name="connsiteY72" fmla="*/ 711842 h 6858000"/>
              <a:gd name="connsiteX73" fmla="*/ 10851293 w 12192000"/>
              <a:gd name="connsiteY73" fmla="*/ 711842 h 6858000"/>
              <a:gd name="connsiteX74" fmla="*/ 10851293 w 12192000"/>
              <a:gd name="connsiteY74" fmla="*/ 677094 h 6858000"/>
              <a:gd name="connsiteX75" fmla="*/ 10937919 w 12192000"/>
              <a:gd name="connsiteY75" fmla="*/ 677094 h 6858000"/>
              <a:gd name="connsiteX76" fmla="*/ 10937919 w 12192000"/>
              <a:gd name="connsiteY76" fmla="*/ 642617 h 6858000"/>
              <a:gd name="connsiteX77" fmla="*/ 10799415 w 12192000"/>
              <a:gd name="connsiteY77" fmla="*/ 642617 h 6858000"/>
              <a:gd name="connsiteX78" fmla="*/ 10661074 w 12192000"/>
              <a:gd name="connsiteY78" fmla="*/ 642617 h 6858000"/>
              <a:gd name="connsiteX79" fmla="*/ 10661074 w 12192000"/>
              <a:gd name="connsiteY79" fmla="*/ 850075 h 6858000"/>
              <a:gd name="connsiteX80" fmla="*/ 10712952 w 12192000"/>
              <a:gd name="connsiteY80" fmla="*/ 850075 h 6858000"/>
              <a:gd name="connsiteX81" fmla="*/ 10712952 w 12192000"/>
              <a:gd name="connsiteY81" fmla="*/ 642617 h 6858000"/>
              <a:gd name="connsiteX82" fmla="*/ 10539971 w 12192000"/>
              <a:gd name="connsiteY82" fmla="*/ 642617 h 6858000"/>
              <a:gd name="connsiteX83" fmla="*/ 10470746 w 12192000"/>
              <a:gd name="connsiteY83" fmla="*/ 850075 h 6858000"/>
              <a:gd name="connsiteX84" fmla="*/ 10522624 w 12192000"/>
              <a:gd name="connsiteY84" fmla="*/ 850075 h 6858000"/>
              <a:gd name="connsiteX85" fmla="*/ 10548563 w 12192000"/>
              <a:gd name="connsiteY85" fmla="*/ 781067 h 6858000"/>
              <a:gd name="connsiteX86" fmla="*/ 10583311 w 12192000"/>
              <a:gd name="connsiteY86" fmla="*/ 781067 h 6858000"/>
              <a:gd name="connsiteX87" fmla="*/ 10583311 w 12192000"/>
              <a:gd name="connsiteY87" fmla="*/ 850075 h 6858000"/>
              <a:gd name="connsiteX88" fmla="*/ 10635189 w 12192000"/>
              <a:gd name="connsiteY88" fmla="*/ 850075 h 6858000"/>
              <a:gd name="connsiteX89" fmla="*/ 10635189 w 12192000"/>
              <a:gd name="connsiteY89" fmla="*/ 642617 h 6858000"/>
              <a:gd name="connsiteX90" fmla="*/ 10159370 w 12192000"/>
              <a:gd name="connsiteY90" fmla="*/ 642563 h 6858000"/>
              <a:gd name="connsiteX91" fmla="*/ 10210978 w 12192000"/>
              <a:gd name="connsiteY91" fmla="*/ 694225 h 6858000"/>
              <a:gd name="connsiteX92" fmla="*/ 10159370 w 12192000"/>
              <a:gd name="connsiteY92" fmla="*/ 745995 h 6858000"/>
              <a:gd name="connsiteX93" fmla="*/ 10107763 w 12192000"/>
              <a:gd name="connsiteY93" fmla="*/ 694225 h 6858000"/>
              <a:gd name="connsiteX94" fmla="*/ 10159370 w 12192000"/>
              <a:gd name="connsiteY94" fmla="*/ 538699 h 6858000"/>
              <a:gd name="connsiteX95" fmla="*/ 9951588 w 12192000"/>
              <a:gd name="connsiteY95" fmla="*/ 746049 h 6858000"/>
              <a:gd name="connsiteX96" fmla="*/ 10003574 w 12192000"/>
              <a:gd name="connsiteY96" fmla="*/ 797927 h 6858000"/>
              <a:gd name="connsiteX97" fmla="*/ 10055722 w 12192000"/>
              <a:gd name="connsiteY97" fmla="*/ 746211 h 6858000"/>
              <a:gd name="connsiteX98" fmla="*/ 10107492 w 12192000"/>
              <a:gd name="connsiteY98" fmla="*/ 798198 h 6858000"/>
              <a:gd name="connsiteX99" fmla="*/ 10055398 w 12192000"/>
              <a:gd name="connsiteY99" fmla="*/ 850292 h 6858000"/>
              <a:gd name="connsiteX100" fmla="*/ 10107492 w 12192000"/>
              <a:gd name="connsiteY100" fmla="*/ 901846 h 6858000"/>
              <a:gd name="connsiteX101" fmla="*/ 10158398 w 12192000"/>
              <a:gd name="connsiteY101" fmla="*/ 850130 h 6858000"/>
              <a:gd name="connsiteX102" fmla="*/ 10211411 w 12192000"/>
              <a:gd name="connsiteY102" fmla="*/ 901846 h 6858000"/>
              <a:gd name="connsiteX103" fmla="*/ 10263073 w 12192000"/>
              <a:gd name="connsiteY103" fmla="*/ 850130 h 6858000"/>
              <a:gd name="connsiteX104" fmla="*/ 10211411 w 12192000"/>
              <a:gd name="connsiteY104" fmla="*/ 798468 h 6858000"/>
              <a:gd name="connsiteX105" fmla="*/ 10263613 w 12192000"/>
              <a:gd name="connsiteY105" fmla="*/ 746211 h 6858000"/>
              <a:gd name="connsiteX106" fmla="*/ 10315221 w 12192000"/>
              <a:gd name="connsiteY106" fmla="*/ 797927 h 6858000"/>
              <a:gd name="connsiteX107" fmla="*/ 10366937 w 12192000"/>
              <a:gd name="connsiteY107" fmla="*/ 746211 h 6858000"/>
              <a:gd name="connsiteX108" fmla="*/ 0 w 12192000"/>
              <a:gd name="connsiteY108" fmla="*/ 0 h 6858000"/>
              <a:gd name="connsiteX109" fmla="*/ 12192000 w 12192000"/>
              <a:gd name="connsiteY109" fmla="*/ 0 h 6858000"/>
              <a:gd name="connsiteX110" fmla="*/ 12192000 w 12192000"/>
              <a:gd name="connsiteY110" fmla="*/ 6858000 h 6858000"/>
              <a:gd name="connsiteX111" fmla="*/ 0 w 121920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2192000" h="6858000">
                <a:moveTo>
                  <a:pt x="11257942" y="746373"/>
                </a:moveTo>
                <a:lnTo>
                  <a:pt x="11292689" y="746373"/>
                </a:lnTo>
                <a:lnTo>
                  <a:pt x="11292689" y="815598"/>
                </a:lnTo>
                <a:lnTo>
                  <a:pt x="11257942" y="815598"/>
                </a:lnTo>
                <a:close/>
                <a:moveTo>
                  <a:pt x="11206118" y="746266"/>
                </a:moveTo>
                <a:lnTo>
                  <a:pt x="11206118" y="746373"/>
                </a:lnTo>
                <a:lnTo>
                  <a:pt x="11206064" y="746373"/>
                </a:lnTo>
                <a:close/>
                <a:moveTo>
                  <a:pt x="10730352" y="746103"/>
                </a:moveTo>
                <a:lnTo>
                  <a:pt x="10730352" y="780851"/>
                </a:lnTo>
                <a:lnTo>
                  <a:pt x="10782285" y="780851"/>
                </a:lnTo>
                <a:lnTo>
                  <a:pt x="10782285" y="746103"/>
                </a:lnTo>
                <a:close/>
                <a:moveTo>
                  <a:pt x="11448323" y="711842"/>
                </a:moveTo>
                <a:lnTo>
                  <a:pt x="11448323" y="850075"/>
                </a:lnTo>
                <a:lnTo>
                  <a:pt x="11500201" y="850075"/>
                </a:lnTo>
                <a:lnTo>
                  <a:pt x="11500201" y="746373"/>
                </a:lnTo>
                <a:lnTo>
                  <a:pt x="11526140" y="746373"/>
                </a:lnTo>
                <a:lnTo>
                  <a:pt x="11526140" y="850075"/>
                </a:lnTo>
                <a:lnTo>
                  <a:pt x="11578019" y="850075"/>
                </a:lnTo>
                <a:lnTo>
                  <a:pt x="11578019" y="746373"/>
                </a:lnTo>
                <a:lnTo>
                  <a:pt x="11604012" y="746373"/>
                </a:lnTo>
                <a:lnTo>
                  <a:pt x="11604012" y="850075"/>
                </a:lnTo>
                <a:lnTo>
                  <a:pt x="11655890" y="850075"/>
                </a:lnTo>
                <a:lnTo>
                  <a:pt x="11655890" y="746373"/>
                </a:lnTo>
                <a:lnTo>
                  <a:pt x="11638759" y="711842"/>
                </a:lnTo>
                <a:lnTo>
                  <a:pt x="11448377" y="711842"/>
                </a:lnTo>
                <a:close/>
                <a:moveTo>
                  <a:pt x="11370506" y="711626"/>
                </a:moveTo>
                <a:lnTo>
                  <a:pt x="11370506" y="850075"/>
                </a:lnTo>
                <a:lnTo>
                  <a:pt x="11422438" y="850075"/>
                </a:lnTo>
                <a:lnTo>
                  <a:pt x="11422438" y="711842"/>
                </a:lnTo>
                <a:close/>
                <a:moveTo>
                  <a:pt x="10583311" y="677094"/>
                </a:moveTo>
                <a:lnTo>
                  <a:pt x="10583311" y="746373"/>
                </a:lnTo>
                <a:lnTo>
                  <a:pt x="10557101" y="746373"/>
                </a:lnTo>
                <a:close/>
                <a:moveTo>
                  <a:pt x="11370506" y="642617"/>
                </a:moveTo>
                <a:lnTo>
                  <a:pt x="11370506" y="677094"/>
                </a:lnTo>
                <a:lnTo>
                  <a:pt x="11422438" y="677094"/>
                </a:lnTo>
                <a:lnTo>
                  <a:pt x="11422438" y="642617"/>
                </a:lnTo>
                <a:close/>
                <a:moveTo>
                  <a:pt x="10799361" y="642617"/>
                </a:moveTo>
                <a:lnTo>
                  <a:pt x="10799361" y="850075"/>
                </a:lnTo>
                <a:lnTo>
                  <a:pt x="10851239" y="850075"/>
                </a:lnTo>
                <a:lnTo>
                  <a:pt x="10851239" y="746373"/>
                </a:lnTo>
                <a:lnTo>
                  <a:pt x="10886041" y="746373"/>
                </a:lnTo>
                <a:lnTo>
                  <a:pt x="10886041" y="815598"/>
                </a:lnTo>
                <a:lnTo>
                  <a:pt x="10903387" y="850075"/>
                </a:lnTo>
                <a:lnTo>
                  <a:pt x="11024544" y="850075"/>
                </a:lnTo>
                <a:lnTo>
                  <a:pt x="11024544" y="746373"/>
                </a:lnTo>
                <a:lnTo>
                  <a:pt x="11050483" y="746373"/>
                </a:lnTo>
                <a:lnTo>
                  <a:pt x="11050483" y="850075"/>
                </a:lnTo>
                <a:lnTo>
                  <a:pt x="11102307" y="850075"/>
                </a:lnTo>
                <a:lnTo>
                  <a:pt x="11102307" y="746373"/>
                </a:lnTo>
                <a:lnTo>
                  <a:pt x="11128301" y="746373"/>
                </a:lnTo>
                <a:lnTo>
                  <a:pt x="11128301" y="850075"/>
                </a:lnTo>
                <a:lnTo>
                  <a:pt x="11180179" y="850075"/>
                </a:lnTo>
                <a:lnTo>
                  <a:pt x="11180179" y="746373"/>
                </a:lnTo>
                <a:lnTo>
                  <a:pt x="11206064" y="746373"/>
                </a:lnTo>
                <a:lnTo>
                  <a:pt x="11206064" y="815598"/>
                </a:lnTo>
                <a:lnTo>
                  <a:pt x="11223464" y="850075"/>
                </a:lnTo>
                <a:lnTo>
                  <a:pt x="11344567" y="850075"/>
                </a:lnTo>
                <a:lnTo>
                  <a:pt x="11344567" y="711842"/>
                </a:lnTo>
                <a:lnTo>
                  <a:pt x="11223464" y="711842"/>
                </a:lnTo>
                <a:lnTo>
                  <a:pt x="11206118" y="746266"/>
                </a:lnTo>
                <a:lnTo>
                  <a:pt x="11206118" y="711842"/>
                </a:lnTo>
                <a:lnTo>
                  <a:pt x="11180179" y="711842"/>
                </a:lnTo>
                <a:lnTo>
                  <a:pt x="11180179" y="677094"/>
                </a:lnTo>
                <a:lnTo>
                  <a:pt x="11128301" y="677094"/>
                </a:lnTo>
                <a:lnTo>
                  <a:pt x="11128301" y="711842"/>
                </a:lnTo>
                <a:lnTo>
                  <a:pt x="11102307" y="711842"/>
                </a:lnTo>
                <a:lnTo>
                  <a:pt x="11102307" y="677094"/>
                </a:lnTo>
                <a:lnTo>
                  <a:pt x="11050483" y="677094"/>
                </a:lnTo>
                <a:lnTo>
                  <a:pt x="11050483" y="711842"/>
                </a:lnTo>
                <a:lnTo>
                  <a:pt x="10972396" y="711842"/>
                </a:lnTo>
                <a:lnTo>
                  <a:pt x="10972396" y="815544"/>
                </a:lnTo>
                <a:lnTo>
                  <a:pt x="10937919" y="815544"/>
                </a:lnTo>
                <a:lnTo>
                  <a:pt x="10937919" y="711842"/>
                </a:lnTo>
                <a:lnTo>
                  <a:pt x="10851293" y="711842"/>
                </a:lnTo>
                <a:lnTo>
                  <a:pt x="10851293" y="677094"/>
                </a:lnTo>
                <a:lnTo>
                  <a:pt x="10937919" y="677094"/>
                </a:lnTo>
                <a:lnTo>
                  <a:pt x="10937919" y="642617"/>
                </a:lnTo>
                <a:lnTo>
                  <a:pt x="10799415" y="642617"/>
                </a:lnTo>
                <a:close/>
                <a:moveTo>
                  <a:pt x="10661074" y="642617"/>
                </a:moveTo>
                <a:lnTo>
                  <a:pt x="10661074" y="850075"/>
                </a:lnTo>
                <a:lnTo>
                  <a:pt x="10712952" y="850075"/>
                </a:lnTo>
                <a:lnTo>
                  <a:pt x="10712952" y="642617"/>
                </a:lnTo>
                <a:close/>
                <a:moveTo>
                  <a:pt x="10539971" y="642617"/>
                </a:moveTo>
                <a:lnTo>
                  <a:pt x="10470746" y="850075"/>
                </a:lnTo>
                <a:lnTo>
                  <a:pt x="10522624" y="850075"/>
                </a:lnTo>
                <a:lnTo>
                  <a:pt x="10548563" y="781067"/>
                </a:lnTo>
                <a:lnTo>
                  <a:pt x="10583311" y="781067"/>
                </a:lnTo>
                <a:lnTo>
                  <a:pt x="10583311" y="850075"/>
                </a:lnTo>
                <a:lnTo>
                  <a:pt x="10635189" y="850075"/>
                </a:lnTo>
                <a:lnTo>
                  <a:pt x="10635189" y="642617"/>
                </a:lnTo>
                <a:close/>
                <a:moveTo>
                  <a:pt x="10159370" y="642563"/>
                </a:moveTo>
                <a:lnTo>
                  <a:pt x="10210978" y="694225"/>
                </a:lnTo>
                <a:lnTo>
                  <a:pt x="10159370" y="745995"/>
                </a:lnTo>
                <a:lnTo>
                  <a:pt x="10107763" y="694225"/>
                </a:lnTo>
                <a:close/>
                <a:moveTo>
                  <a:pt x="10159370" y="538699"/>
                </a:moveTo>
                <a:lnTo>
                  <a:pt x="9951588" y="746049"/>
                </a:lnTo>
                <a:lnTo>
                  <a:pt x="10003574" y="797927"/>
                </a:lnTo>
                <a:lnTo>
                  <a:pt x="10055722" y="746211"/>
                </a:lnTo>
                <a:lnTo>
                  <a:pt x="10107492" y="798198"/>
                </a:lnTo>
                <a:lnTo>
                  <a:pt x="10055398" y="850292"/>
                </a:lnTo>
                <a:lnTo>
                  <a:pt x="10107492" y="901846"/>
                </a:lnTo>
                <a:lnTo>
                  <a:pt x="10158398" y="850130"/>
                </a:lnTo>
                <a:lnTo>
                  <a:pt x="10211411" y="901846"/>
                </a:lnTo>
                <a:lnTo>
                  <a:pt x="10263073" y="850130"/>
                </a:lnTo>
                <a:lnTo>
                  <a:pt x="10211411" y="798468"/>
                </a:lnTo>
                <a:lnTo>
                  <a:pt x="10263613" y="746211"/>
                </a:lnTo>
                <a:lnTo>
                  <a:pt x="10315221" y="797927"/>
                </a:lnTo>
                <a:lnTo>
                  <a:pt x="10366937" y="74621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673821" y="6462506"/>
            <a:ext cx="639762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90787E-775F-4151-B1DC-26D9CC0B194C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4E7DF76B-C887-78D9-DED9-9F1A8AD7D51E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539748" y="6462506"/>
            <a:ext cx="5556251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</p:spTree>
    <p:extLst>
      <p:ext uri="{BB962C8B-B14F-4D97-AF65-F5344CB8AC3E}">
        <p14:creationId xmlns:p14="http://schemas.microsoft.com/office/powerpoint/2010/main" val="2441127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55" userDrawn="1">
          <p15:clr>
            <a:srgbClr val="FBAE40"/>
          </p15:clr>
        </p15:guide>
        <p15:guide id="2" pos="5081" userDrawn="1">
          <p15:clr>
            <a:srgbClr val="FBAE40"/>
          </p15:clr>
        </p15:guide>
        <p15:guide id="3" orient="horz" pos="2330" userDrawn="1">
          <p15:clr>
            <a:srgbClr val="FBAE40"/>
          </p15:clr>
        </p15:guide>
        <p15:guide id="4" orient="horz" pos="250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Slide_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A519CC-A663-F358-9865-6872EB7A187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257942 w 12192000"/>
              <a:gd name="connsiteY0" fmla="*/ 746373 h 6858000"/>
              <a:gd name="connsiteX1" fmla="*/ 11292689 w 12192000"/>
              <a:gd name="connsiteY1" fmla="*/ 746373 h 6858000"/>
              <a:gd name="connsiteX2" fmla="*/ 11292689 w 12192000"/>
              <a:gd name="connsiteY2" fmla="*/ 815598 h 6858000"/>
              <a:gd name="connsiteX3" fmla="*/ 11257942 w 12192000"/>
              <a:gd name="connsiteY3" fmla="*/ 815598 h 6858000"/>
              <a:gd name="connsiteX4" fmla="*/ 11206118 w 12192000"/>
              <a:gd name="connsiteY4" fmla="*/ 746266 h 6858000"/>
              <a:gd name="connsiteX5" fmla="*/ 11206118 w 12192000"/>
              <a:gd name="connsiteY5" fmla="*/ 746373 h 6858000"/>
              <a:gd name="connsiteX6" fmla="*/ 11206064 w 12192000"/>
              <a:gd name="connsiteY6" fmla="*/ 746373 h 6858000"/>
              <a:gd name="connsiteX7" fmla="*/ 10730352 w 12192000"/>
              <a:gd name="connsiteY7" fmla="*/ 746103 h 6858000"/>
              <a:gd name="connsiteX8" fmla="*/ 10730352 w 12192000"/>
              <a:gd name="connsiteY8" fmla="*/ 780851 h 6858000"/>
              <a:gd name="connsiteX9" fmla="*/ 10782285 w 12192000"/>
              <a:gd name="connsiteY9" fmla="*/ 780851 h 6858000"/>
              <a:gd name="connsiteX10" fmla="*/ 10782285 w 12192000"/>
              <a:gd name="connsiteY10" fmla="*/ 746103 h 6858000"/>
              <a:gd name="connsiteX11" fmla="*/ 11448323 w 12192000"/>
              <a:gd name="connsiteY11" fmla="*/ 711842 h 6858000"/>
              <a:gd name="connsiteX12" fmla="*/ 11448323 w 12192000"/>
              <a:gd name="connsiteY12" fmla="*/ 850075 h 6858000"/>
              <a:gd name="connsiteX13" fmla="*/ 11500201 w 12192000"/>
              <a:gd name="connsiteY13" fmla="*/ 850075 h 6858000"/>
              <a:gd name="connsiteX14" fmla="*/ 11500201 w 12192000"/>
              <a:gd name="connsiteY14" fmla="*/ 746373 h 6858000"/>
              <a:gd name="connsiteX15" fmla="*/ 11526140 w 12192000"/>
              <a:gd name="connsiteY15" fmla="*/ 746373 h 6858000"/>
              <a:gd name="connsiteX16" fmla="*/ 11526140 w 12192000"/>
              <a:gd name="connsiteY16" fmla="*/ 850075 h 6858000"/>
              <a:gd name="connsiteX17" fmla="*/ 11578019 w 12192000"/>
              <a:gd name="connsiteY17" fmla="*/ 850075 h 6858000"/>
              <a:gd name="connsiteX18" fmla="*/ 11578019 w 12192000"/>
              <a:gd name="connsiteY18" fmla="*/ 746373 h 6858000"/>
              <a:gd name="connsiteX19" fmla="*/ 11604012 w 12192000"/>
              <a:gd name="connsiteY19" fmla="*/ 746373 h 6858000"/>
              <a:gd name="connsiteX20" fmla="*/ 11604012 w 12192000"/>
              <a:gd name="connsiteY20" fmla="*/ 850075 h 6858000"/>
              <a:gd name="connsiteX21" fmla="*/ 11655890 w 12192000"/>
              <a:gd name="connsiteY21" fmla="*/ 850075 h 6858000"/>
              <a:gd name="connsiteX22" fmla="*/ 11655890 w 12192000"/>
              <a:gd name="connsiteY22" fmla="*/ 746373 h 6858000"/>
              <a:gd name="connsiteX23" fmla="*/ 11638759 w 12192000"/>
              <a:gd name="connsiteY23" fmla="*/ 711842 h 6858000"/>
              <a:gd name="connsiteX24" fmla="*/ 11448377 w 12192000"/>
              <a:gd name="connsiteY24" fmla="*/ 711842 h 6858000"/>
              <a:gd name="connsiteX25" fmla="*/ 11370506 w 12192000"/>
              <a:gd name="connsiteY25" fmla="*/ 711626 h 6858000"/>
              <a:gd name="connsiteX26" fmla="*/ 11370506 w 12192000"/>
              <a:gd name="connsiteY26" fmla="*/ 850075 h 6858000"/>
              <a:gd name="connsiteX27" fmla="*/ 11422438 w 12192000"/>
              <a:gd name="connsiteY27" fmla="*/ 850075 h 6858000"/>
              <a:gd name="connsiteX28" fmla="*/ 11422438 w 12192000"/>
              <a:gd name="connsiteY28" fmla="*/ 711842 h 6858000"/>
              <a:gd name="connsiteX29" fmla="*/ 10583311 w 12192000"/>
              <a:gd name="connsiteY29" fmla="*/ 677094 h 6858000"/>
              <a:gd name="connsiteX30" fmla="*/ 10583311 w 12192000"/>
              <a:gd name="connsiteY30" fmla="*/ 746373 h 6858000"/>
              <a:gd name="connsiteX31" fmla="*/ 10557101 w 12192000"/>
              <a:gd name="connsiteY31" fmla="*/ 746373 h 6858000"/>
              <a:gd name="connsiteX32" fmla="*/ 11370506 w 12192000"/>
              <a:gd name="connsiteY32" fmla="*/ 642617 h 6858000"/>
              <a:gd name="connsiteX33" fmla="*/ 11370506 w 12192000"/>
              <a:gd name="connsiteY33" fmla="*/ 677094 h 6858000"/>
              <a:gd name="connsiteX34" fmla="*/ 11422438 w 12192000"/>
              <a:gd name="connsiteY34" fmla="*/ 677094 h 6858000"/>
              <a:gd name="connsiteX35" fmla="*/ 11422438 w 12192000"/>
              <a:gd name="connsiteY35" fmla="*/ 642617 h 6858000"/>
              <a:gd name="connsiteX36" fmla="*/ 10799361 w 12192000"/>
              <a:gd name="connsiteY36" fmla="*/ 642617 h 6858000"/>
              <a:gd name="connsiteX37" fmla="*/ 10799361 w 12192000"/>
              <a:gd name="connsiteY37" fmla="*/ 850075 h 6858000"/>
              <a:gd name="connsiteX38" fmla="*/ 10851239 w 12192000"/>
              <a:gd name="connsiteY38" fmla="*/ 850075 h 6858000"/>
              <a:gd name="connsiteX39" fmla="*/ 10851239 w 12192000"/>
              <a:gd name="connsiteY39" fmla="*/ 746373 h 6858000"/>
              <a:gd name="connsiteX40" fmla="*/ 10886041 w 12192000"/>
              <a:gd name="connsiteY40" fmla="*/ 746373 h 6858000"/>
              <a:gd name="connsiteX41" fmla="*/ 10886041 w 12192000"/>
              <a:gd name="connsiteY41" fmla="*/ 815598 h 6858000"/>
              <a:gd name="connsiteX42" fmla="*/ 10903387 w 12192000"/>
              <a:gd name="connsiteY42" fmla="*/ 850075 h 6858000"/>
              <a:gd name="connsiteX43" fmla="*/ 11024544 w 12192000"/>
              <a:gd name="connsiteY43" fmla="*/ 850075 h 6858000"/>
              <a:gd name="connsiteX44" fmla="*/ 11024544 w 12192000"/>
              <a:gd name="connsiteY44" fmla="*/ 746373 h 6858000"/>
              <a:gd name="connsiteX45" fmla="*/ 11050483 w 12192000"/>
              <a:gd name="connsiteY45" fmla="*/ 746373 h 6858000"/>
              <a:gd name="connsiteX46" fmla="*/ 11050483 w 12192000"/>
              <a:gd name="connsiteY46" fmla="*/ 850075 h 6858000"/>
              <a:gd name="connsiteX47" fmla="*/ 11102307 w 12192000"/>
              <a:gd name="connsiteY47" fmla="*/ 850075 h 6858000"/>
              <a:gd name="connsiteX48" fmla="*/ 11102307 w 12192000"/>
              <a:gd name="connsiteY48" fmla="*/ 746373 h 6858000"/>
              <a:gd name="connsiteX49" fmla="*/ 11128301 w 12192000"/>
              <a:gd name="connsiteY49" fmla="*/ 746373 h 6858000"/>
              <a:gd name="connsiteX50" fmla="*/ 11128301 w 12192000"/>
              <a:gd name="connsiteY50" fmla="*/ 850075 h 6858000"/>
              <a:gd name="connsiteX51" fmla="*/ 11180179 w 12192000"/>
              <a:gd name="connsiteY51" fmla="*/ 850075 h 6858000"/>
              <a:gd name="connsiteX52" fmla="*/ 11180179 w 12192000"/>
              <a:gd name="connsiteY52" fmla="*/ 746373 h 6858000"/>
              <a:gd name="connsiteX53" fmla="*/ 11206064 w 12192000"/>
              <a:gd name="connsiteY53" fmla="*/ 746373 h 6858000"/>
              <a:gd name="connsiteX54" fmla="*/ 11206064 w 12192000"/>
              <a:gd name="connsiteY54" fmla="*/ 815598 h 6858000"/>
              <a:gd name="connsiteX55" fmla="*/ 11223464 w 12192000"/>
              <a:gd name="connsiteY55" fmla="*/ 850075 h 6858000"/>
              <a:gd name="connsiteX56" fmla="*/ 11344567 w 12192000"/>
              <a:gd name="connsiteY56" fmla="*/ 850075 h 6858000"/>
              <a:gd name="connsiteX57" fmla="*/ 11344567 w 12192000"/>
              <a:gd name="connsiteY57" fmla="*/ 711842 h 6858000"/>
              <a:gd name="connsiteX58" fmla="*/ 11223464 w 12192000"/>
              <a:gd name="connsiteY58" fmla="*/ 711842 h 6858000"/>
              <a:gd name="connsiteX59" fmla="*/ 11206118 w 12192000"/>
              <a:gd name="connsiteY59" fmla="*/ 746266 h 6858000"/>
              <a:gd name="connsiteX60" fmla="*/ 11206118 w 12192000"/>
              <a:gd name="connsiteY60" fmla="*/ 711842 h 6858000"/>
              <a:gd name="connsiteX61" fmla="*/ 11180179 w 12192000"/>
              <a:gd name="connsiteY61" fmla="*/ 711842 h 6858000"/>
              <a:gd name="connsiteX62" fmla="*/ 11180179 w 12192000"/>
              <a:gd name="connsiteY62" fmla="*/ 677094 h 6858000"/>
              <a:gd name="connsiteX63" fmla="*/ 11128301 w 12192000"/>
              <a:gd name="connsiteY63" fmla="*/ 677094 h 6858000"/>
              <a:gd name="connsiteX64" fmla="*/ 11128301 w 12192000"/>
              <a:gd name="connsiteY64" fmla="*/ 711842 h 6858000"/>
              <a:gd name="connsiteX65" fmla="*/ 11102307 w 12192000"/>
              <a:gd name="connsiteY65" fmla="*/ 711842 h 6858000"/>
              <a:gd name="connsiteX66" fmla="*/ 11102307 w 12192000"/>
              <a:gd name="connsiteY66" fmla="*/ 677094 h 6858000"/>
              <a:gd name="connsiteX67" fmla="*/ 11050483 w 12192000"/>
              <a:gd name="connsiteY67" fmla="*/ 677094 h 6858000"/>
              <a:gd name="connsiteX68" fmla="*/ 11050483 w 12192000"/>
              <a:gd name="connsiteY68" fmla="*/ 711842 h 6858000"/>
              <a:gd name="connsiteX69" fmla="*/ 10972396 w 12192000"/>
              <a:gd name="connsiteY69" fmla="*/ 711842 h 6858000"/>
              <a:gd name="connsiteX70" fmla="*/ 10972396 w 12192000"/>
              <a:gd name="connsiteY70" fmla="*/ 815544 h 6858000"/>
              <a:gd name="connsiteX71" fmla="*/ 10937919 w 12192000"/>
              <a:gd name="connsiteY71" fmla="*/ 815544 h 6858000"/>
              <a:gd name="connsiteX72" fmla="*/ 10937919 w 12192000"/>
              <a:gd name="connsiteY72" fmla="*/ 711842 h 6858000"/>
              <a:gd name="connsiteX73" fmla="*/ 10851293 w 12192000"/>
              <a:gd name="connsiteY73" fmla="*/ 711842 h 6858000"/>
              <a:gd name="connsiteX74" fmla="*/ 10851293 w 12192000"/>
              <a:gd name="connsiteY74" fmla="*/ 677094 h 6858000"/>
              <a:gd name="connsiteX75" fmla="*/ 10937919 w 12192000"/>
              <a:gd name="connsiteY75" fmla="*/ 677094 h 6858000"/>
              <a:gd name="connsiteX76" fmla="*/ 10937919 w 12192000"/>
              <a:gd name="connsiteY76" fmla="*/ 642617 h 6858000"/>
              <a:gd name="connsiteX77" fmla="*/ 10799415 w 12192000"/>
              <a:gd name="connsiteY77" fmla="*/ 642617 h 6858000"/>
              <a:gd name="connsiteX78" fmla="*/ 10661074 w 12192000"/>
              <a:gd name="connsiteY78" fmla="*/ 642617 h 6858000"/>
              <a:gd name="connsiteX79" fmla="*/ 10661074 w 12192000"/>
              <a:gd name="connsiteY79" fmla="*/ 850075 h 6858000"/>
              <a:gd name="connsiteX80" fmla="*/ 10712952 w 12192000"/>
              <a:gd name="connsiteY80" fmla="*/ 850075 h 6858000"/>
              <a:gd name="connsiteX81" fmla="*/ 10712952 w 12192000"/>
              <a:gd name="connsiteY81" fmla="*/ 642617 h 6858000"/>
              <a:gd name="connsiteX82" fmla="*/ 10539971 w 12192000"/>
              <a:gd name="connsiteY82" fmla="*/ 642617 h 6858000"/>
              <a:gd name="connsiteX83" fmla="*/ 10470746 w 12192000"/>
              <a:gd name="connsiteY83" fmla="*/ 850075 h 6858000"/>
              <a:gd name="connsiteX84" fmla="*/ 10522624 w 12192000"/>
              <a:gd name="connsiteY84" fmla="*/ 850075 h 6858000"/>
              <a:gd name="connsiteX85" fmla="*/ 10548563 w 12192000"/>
              <a:gd name="connsiteY85" fmla="*/ 781067 h 6858000"/>
              <a:gd name="connsiteX86" fmla="*/ 10583311 w 12192000"/>
              <a:gd name="connsiteY86" fmla="*/ 781067 h 6858000"/>
              <a:gd name="connsiteX87" fmla="*/ 10583311 w 12192000"/>
              <a:gd name="connsiteY87" fmla="*/ 850075 h 6858000"/>
              <a:gd name="connsiteX88" fmla="*/ 10635189 w 12192000"/>
              <a:gd name="connsiteY88" fmla="*/ 850075 h 6858000"/>
              <a:gd name="connsiteX89" fmla="*/ 10635189 w 12192000"/>
              <a:gd name="connsiteY89" fmla="*/ 642617 h 6858000"/>
              <a:gd name="connsiteX90" fmla="*/ 10159370 w 12192000"/>
              <a:gd name="connsiteY90" fmla="*/ 642563 h 6858000"/>
              <a:gd name="connsiteX91" fmla="*/ 10210978 w 12192000"/>
              <a:gd name="connsiteY91" fmla="*/ 694225 h 6858000"/>
              <a:gd name="connsiteX92" fmla="*/ 10159370 w 12192000"/>
              <a:gd name="connsiteY92" fmla="*/ 745995 h 6858000"/>
              <a:gd name="connsiteX93" fmla="*/ 10107763 w 12192000"/>
              <a:gd name="connsiteY93" fmla="*/ 694225 h 6858000"/>
              <a:gd name="connsiteX94" fmla="*/ 10159370 w 12192000"/>
              <a:gd name="connsiteY94" fmla="*/ 538699 h 6858000"/>
              <a:gd name="connsiteX95" fmla="*/ 9951588 w 12192000"/>
              <a:gd name="connsiteY95" fmla="*/ 746049 h 6858000"/>
              <a:gd name="connsiteX96" fmla="*/ 10003574 w 12192000"/>
              <a:gd name="connsiteY96" fmla="*/ 797927 h 6858000"/>
              <a:gd name="connsiteX97" fmla="*/ 10055722 w 12192000"/>
              <a:gd name="connsiteY97" fmla="*/ 746211 h 6858000"/>
              <a:gd name="connsiteX98" fmla="*/ 10107492 w 12192000"/>
              <a:gd name="connsiteY98" fmla="*/ 798198 h 6858000"/>
              <a:gd name="connsiteX99" fmla="*/ 10055398 w 12192000"/>
              <a:gd name="connsiteY99" fmla="*/ 850292 h 6858000"/>
              <a:gd name="connsiteX100" fmla="*/ 10107492 w 12192000"/>
              <a:gd name="connsiteY100" fmla="*/ 901846 h 6858000"/>
              <a:gd name="connsiteX101" fmla="*/ 10158398 w 12192000"/>
              <a:gd name="connsiteY101" fmla="*/ 850130 h 6858000"/>
              <a:gd name="connsiteX102" fmla="*/ 10211411 w 12192000"/>
              <a:gd name="connsiteY102" fmla="*/ 901846 h 6858000"/>
              <a:gd name="connsiteX103" fmla="*/ 10263073 w 12192000"/>
              <a:gd name="connsiteY103" fmla="*/ 850130 h 6858000"/>
              <a:gd name="connsiteX104" fmla="*/ 10211411 w 12192000"/>
              <a:gd name="connsiteY104" fmla="*/ 798468 h 6858000"/>
              <a:gd name="connsiteX105" fmla="*/ 10263613 w 12192000"/>
              <a:gd name="connsiteY105" fmla="*/ 746211 h 6858000"/>
              <a:gd name="connsiteX106" fmla="*/ 10315221 w 12192000"/>
              <a:gd name="connsiteY106" fmla="*/ 797927 h 6858000"/>
              <a:gd name="connsiteX107" fmla="*/ 10366937 w 12192000"/>
              <a:gd name="connsiteY107" fmla="*/ 746211 h 6858000"/>
              <a:gd name="connsiteX108" fmla="*/ 0 w 12192000"/>
              <a:gd name="connsiteY108" fmla="*/ 0 h 6858000"/>
              <a:gd name="connsiteX109" fmla="*/ 12192000 w 12192000"/>
              <a:gd name="connsiteY109" fmla="*/ 0 h 6858000"/>
              <a:gd name="connsiteX110" fmla="*/ 12192000 w 12192000"/>
              <a:gd name="connsiteY110" fmla="*/ 6858000 h 6858000"/>
              <a:gd name="connsiteX111" fmla="*/ 0 w 121920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2192000" h="6858000">
                <a:moveTo>
                  <a:pt x="11257942" y="746373"/>
                </a:moveTo>
                <a:lnTo>
                  <a:pt x="11292689" y="746373"/>
                </a:lnTo>
                <a:lnTo>
                  <a:pt x="11292689" y="815598"/>
                </a:lnTo>
                <a:lnTo>
                  <a:pt x="11257942" y="815598"/>
                </a:lnTo>
                <a:close/>
                <a:moveTo>
                  <a:pt x="11206118" y="746266"/>
                </a:moveTo>
                <a:lnTo>
                  <a:pt x="11206118" y="746373"/>
                </a:lnTo>
                <a:lnTo>
                  <a:pt x="11206064" y="746373"/>
                </a:lnTo>
                <a:close/>
                <a:moveTo>
                  <a:pt x="10730352" y="746103"/>
                </a:moveTo>
                <a:lnTo>
                  <a:pt x="10730352" y="780851"/>
                </a:lnTo>
                <a:lnTo>
                  <a:pt x="10782285" y="780851"/>
                </a:lnTo>
                <a:lnTo>
                  <a:pt x="10782285" y="746103"/>
                </a:lnTo>
                <a:close/>
                <a:moveTo>
                  <a:pt x="11448323" y="711842"/>
                </a:moveTo>
                <a:lnTo>
                  <a:pt x="11448323" y="850075"/>
                </a:lnTo>
                <a:lnTo>
                  <a:pt x="11500201" y="850075"/>
                </a:lnTo>
                <a:lnTo>
                  <a:pt x="11500201" y="746373"/>
                </a:lnTo>
                <a:lnTo>
                  <a:pt x="11526140" y="746373"/>
                </a:lnTo>
                <a:lnTo>
                  <a:pt x="11526140" y="850075"/>
                </a:lnTo>
                <a:lnTo>
                  <a:pt x="11578019" y="850075"/>
                </a:lnTo>
                <a:lnTo>
                  <a:pt x="11578019" y="746373"/>
                </a:lnTo>
                <a:lnTo>
                  <a:pt x="11604012" y="746373"/>
                </a:lnTo>
                <a:lnTo>
                  <a:pt x="11604012" y="850075"/>
                </a:lnTo>
                <a:lnTo>
                  <a:pt x="11655890" y="850075"/>
                </a:lnTo>
                <a:lnTo>
                  <a:pt x="11655890" y="746373"/>
                </a:lnTo>
                <a:lnTo>
                  <a:pt x="11638759" y="711842"/>
                </a:lnTo>
                <a:lnTo>
                  <a:pt x="11448377" y="711842"/>
                </a:lnTo>
                <a:close/>
                <a:moveTo>
                  <a:pt x="11370506" y="711626"/>
                </a:moveTo>
                <a:lnTo>
                  <a:pt x="11370506" y="850075"/>
                </a:lnTo>
                <a:lnTo>
                  <a:pt x="11422438" y="850075"/>
                </a:lnTo>
                <a:lnTo>
                  <a:pt x="11422438" y="711842"/>
                </a:lnTo>
                <a:close/>
                <a:moveTo>
                  <a:pt x="10583311" y="677094"/>
                </a:moveTo>
                <a:lnTo>
                  <a:pt x="10583311" y="746373"/>
                </a:lnTo>
                <a:lnTo>
                  <a:pt x="10557101" y="746373"/>
                </a:lnTo>
                <a:close/>
                <a:moveTo>
                  <a:pt x="11370506" y="642617"/>
                </a:moveTo>
                <a:lnTo>
                  <a:pt x="11370506" y="677094"/>
                </a:lnTo>
                <a:lnTo>
                  <a:pt x="11422438" y="677094"/>
                </a:lnTo>
                <a:lnTo>
                  <a:pt x="11422438" y="642617"/>
                </a:lnTo>
                <a:close/>
                <a:moveTo>
                  <a:pt x="10799361" y="642617"/>
                </a:moveTo>
                <a:lnTo>
                  <a:pt x="10799361" y="850075"/>
                </a:lnTo>
                <a:lnTo>
                  <a:pt x="10851239" y="850075"/>
                </a:lnTo>
                <a:lnTo>
                  <a:pt x="10851239" y="746373"/>
                </a:lnTo>
                <a:lnTo>
                  <a:pt x="10886041" y="746373"/>
                </a:lnTo>
                <a:lnTo>
                  <a:pt x="10886041" y="815598"/>
                </a:lnTo>
                <a:lnTo>
                  <a:pt x="10903387" y="850075"/>
                </a:lnTo>
                <a:lnTo>
                  <a:pt x="11024544" y="850075"/>
                </a:lnTo>
                <a:lnTo>
                  <a:pt x="11024544" y="746373"/>
                </a:lnTo>
                <a:lnTo>
                  <a:pt x="11050483" y="746373"/>
                </a:lnTo>
                <a:lnTo>
                  <a:pt x="11050483" y="850075"/>
                </a:lnTo>
                <a:lnTo>
                  <a:pt x="11102307" y="850075"/>
                </a:lnTo>
                <a:lnTo>
                  <a:pt x="11102307" y="746373"/>
                </a:lnTo>
                <a:lnTo>
                  <a:pt x="11128301" y="746373"/>
                </a:lnTo>
                <a:lnTo>
                  <a:pt x="11128301" y="850075"/>
                </a:lnTo>
                <a:lnTo>
                  <a:pt x="11180179" y="850075"/>
                </a:lnTo>
                <a:lnTo>
                  <a:pt x="11180179" y="746373"/>
                </a:lnTo>
                <a:lnTo>
                  <a:pt x="11206064" y="746373"/>
                </a:lnTo>
                <a:lnTo>
                  <a:pt x="11206064" y="815598"/>
                </a:lnTo>
                <a:lnTo>
                  <a:pt x="11223464" y="850075"/>
                </a:lnTo>
                <a:lnTo>
                  <a:pt x="11344567" y="850075"/>
                </a:lnTo>
                <a:lnTo>
                  <a:pt x="11344567" y="711842"/>
                </a:lnTo>
                <a:lnTo>
                  <a:pt x="11223464" y="711842"/>
                </a:lnTo>
                <a:lnTo>
                  <a:pt x="11206118" y="746266"/>
                </a:lnTo>
                <a:lnTo>
                  <a:pt x="11206118" y="711842"/>
                </a:lnTo>
                <a:lnTo>
                  <a:pt x="11180179" y="711842"/>
                </a:lnTo>
                <a:lnTo>
                  <a:pt x="11180179" y="677094"/>
                </a:lnTo>
                <a:lnTo>
                  <a:pt x="11128301" y="677094"/>
                </a:lnTo>
                <a:lnTo>
                  <a:pt x="11128301" y="711842"/>
                </a:lnTo>
                <a:lnTo>
                  <a:pt x="11102307" y="711842"/>
                </a:lnTo>
                <a:lnTo>
                  <a:pt x="11102307" y="677094"/>
                </a:lnTo>
                <a:lnTo>
                  <a:pt x="11050483" y="677094"/>
                </a:lnTo>
                <a:lnTo>
                  <a:pt x="11050483" y="711842"/>
                </a:lnTo>
                <a:lnTo>
                  <a:pt x="10972396" y="711842"/>
                </a:lnTo>
                <a:lnTo>
                  <a:pt x="10972396" y="815544"/>
                </a:lnTo>
                <a:lnTo>
                  <a:pt x="10937919" y="815544"/>
                </a:lnTo>
                <a:lnTo>
                  <a:pt x="10937919" y="711842"/>
                </a:lnTo>
                <a:lnTo>
                  <a:pt x="10851293" y="711842"/>
                </a:lnTo>
                <a:lnTo>
                  <a:pt x="10851293" y="677094"/>
                </a:lnTo>
                <a:lnTo>
                  <a:pt x="10937919" y="677094"/>
                </a:lnTo>
                <a:lnTo>
                  <a:pt x="10937919" y="642617"/>
                </a:lnTo>
                <a:lnTo>
                  <a:pt x="10799415" y="642617"/>
                </a:lnTo>
                <a:close/>
                <a:moveTo>
                  <a:pt x="10661074" y="642617"/>
                </a:moveTo>
                <a:lnTo>
                  <a:pt x="10661074" y="850075"/>
                </a:lnTo>
                <a:lnTo>
                  <a:pt x="10712952" y="850075"/>
                </a:lnTo>
                <a:lnTo>
                  <a:pt x="10712952" y="642617"/>
                </a:lnTo>
                <a:close/>
                <a:moveTo>
                  <a:pt x="10539971" y="642617"/>
                </a:moveTo>
                <a:lnTo>
                  <a:pt x="10470746" y="850075"/>
                </a:lnTo>
                <a:lnTo>
                  <a:pt x="10522624" y="850075"/>
                </a:lnTo>
                <a:lnTo>
                  <a:pt x="10548563" y="781067"/>
                </a:lnTo>
                <a:lnTo>
                  <a:pt x="10583311" y="781067"/>
                </a:lnTo>
                <a:lnTo>
                  <a:pt x="10583311" y="850075"/>
                </a:lnTo>
                <a:lnTo>
                  <a:pt x="10635189" y="850075"/>
                </a:lnTo>
                <a:lnTo>
                  <a:pt x="10635189" y="642617"/>
                </a:lnTo>
                <a:close/>
                <a:moveTo>
                  <a:pt x="10159370" y="642563"/>
                </a:moveTo>
                <a:lnTo>
                  <a:pt x="10210978" y="694225"/>
                </a:lnTo>
                <a:lnTo>
                  <a:pt x="10159370" y="745995"/>
                </a:lnTo>
                <a:lnTo>
                  <a:pt x="10107763" y="694225"/>
                </a:lnTo>
                <a:close/>
                <a:moveTo>
                  <a:pt x="10159370" y="538699"/>
                </a:moveTo>
                <a:lnTo>
                  <a:pt x="9951588" y="746049"/>
                </a:lnTo>
                <a:lnTo>
                  <a:pt x="10003574" y="797927"/>
                </a:lnTo>
                <a:lnTo>
                  <a:pt x="10055722" y="746211"/>
                </a:lnTo>
                <a:lnTo>
                  <a:pt x="10107492" y="798198"/>
                </a:lnTo>
                <a:lnTo>
                  <a:pt x="10055398" y="850292"/>
                </a:lnTo>
                <a:lnTo>
                  <a:pt x="10107492" y="901846"/>
                </a:lnTo>
                <a:lnTo>
                  <a:pt x="10158398" y="850130"/>
                </a:lnTo>
                <a:lnTo>
                  <a:pt x="10211411" y="901846"/>
                </a:lnTo>
                <a:lnTo>
                  <a:pt x="10263073" y="850130"/>
                </a:lnTo>
                <a:lnTo>
                  <a:pt x="10211411" y="798468"/>
                </a:lnTo>
                <a:lnTo>
                  <a:pt x="10263613" y="746211"/>
                </a:lnTo>
                <a:lnTo>
                  <a:pt x="10315221" y="797927"/>
                </a:lnTo>
                <a:lnTo>
                  <a:pt x="10366937" y="74621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673821" y="6462506"/>
            <a:ext cx="63976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A643353-B2AE-4624-AC98-A00AA66877BF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4E7DF76B-C887-78D9-DED9-9F1A8AD7D51E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539748" y="6462506"/>
            <a:ext cx="5556251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</p:spTree>
    <p:extLst>
      <p:ext uri="{BB962C8B-B14F-4D97-AF65-F5344CB8AC3E}">
        <p14:creationId xmlns:p14="http://schemas.microsoft.com/office/powerpoint/2010/main" val="247110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55" userDrawn="1">
          <p15:clr>
            <a:srgbClr val="FBAE40"/>
          </p15:clr>
        </p15:guide>
        <p15:guide id="2" pos="5081" userDrawn="1">
          <p15:clr>
            <a:srgbClr val="FBAE40"/>
          </p15:clr>
        </p15:guide>
        <p15:guide id="3" orient="horz" pos="2330" userDrawn="1">
          <p15:clr>
            <a:srgbClr val="FBAE40"/>
          </p15:clr>
        </p15:guide>
        <p15:guide id="4" orient="horz" pos="250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1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881A1E-2634-40E4-8D89-D5C99F0A4AD6}" type="datetime1">
              <a:rPr lang="en-US" smtClean="0"/>
              <a:t>12/09/2025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1000" y="1344385"/>
            <a:ext cx="8289001" cy="276999"/>
          </a:xfrm>
        </p:spPr>
        <p:txBody>
          <a:bodyPr wrap="square" anchor="b">
            <a:sp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– Speaker Name, Compan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1000" y="2160588"/>
            <a:ext cx="10171250" cy="3884612"/>
          </a:xfrm>
        </p:spPr>
        <p:txBody>
          <a:bodyPr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Quote </a:t>
            </a:r>
            <a:br>
              <a:rPr lang="en-US" dirty="0"/>
            </a:br>
            <a:r>
              <a:rPr lang="en-US" dirty="0"/>
              <a:t>or a Statement!</a:t>
            </a:r>
          </a:p>
        </p:txBody>
      </p:sp>
    </p:spTree>
    <p:extLst>
      <p:ext uri="{BB962C8B-B14F-4D97-AF65-F5344CB8AC3E}">
        <p14:creationId xmlns:p14="http://schemas.microsoft.com/office/powerpoint/2010/main" val="2359559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136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with imag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4332800"/>
            <a:ext cx="11112502" cy="498598"/>
          </a:xfrm>
        </p:spPr>
        <p:txBody>
          <a:bodyPr anchor="b">
            <a:sp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4831398"/>
            <a:ext cx="11112502" cy="276999"/>
          </a:xfrm>
        </p:spPr>
        <p:txBody>
          <a:bodyPr>
            <a:spAutoFit/>
          </a:bodyPr>
          <a:lstStyle>
            <a:lvl1pPr marL="0" indent="0" algn="l">
              <a:buNone/>
              <a:defRPr sz="1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E228A9F-E9A6-695B-D921-9A62CF784E3E}"/>
              </a:ext>
            </a:extLst>
          </p:cNvPr>
          <p:cNvGrpSpPr/>
          <p:nvPr userDrawn="1"/>
        </p:nvGrpSpPr>
        <p:grpSpPr bwMode="black">
          <a:xfrm>
            <a:off x="539261" y="3700464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647B08E-14B1-01D6-5B5D-811758E0E340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5C09C97-7D6A-EB6B-7CA5-302B174E7E1E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D383AD4-FE7F-970C-622A-7ECEF38EB6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423465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873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329" userDrawn="1">
          <p15:clr>
            <a:srgbClr val="FBAE40"/>
          </p15:clr>
        </p15:guide>
        <p15:guide id="5" orient="horz" pos="215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76566B8-54DA-4CAF-ADD3-E9282896FEE8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1000" y="1344385"/>
            <a:ext cx="8289001" cy="276999"/>
          </a:xfrm>
        </p:spPr>
        <p:txBody>
          <a:bodyPr wrap="square" anchor="b">
            <a:sp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– Speaker Name, Compan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1000" y="2160588"/>
            <a:ext cx="10171250" cy="3884612"/>
          </a:xfrm>
        </p:spPr>
        <p:txBody>
          <a:bodyPr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Quote </a:t>
            </a:r>
            <a:br>
              <a:rPr lang="en-US" dirty="0"/>
            </a:br>
            <a:r>
              <a:rPr lang="en-US" dirty="0"/>
              <a:t>or a Statement!</a:t>
            </a:r>
          </a:p>
        </p:txBody>
      </p:sp>
    </p:spTree>
    <p:extLst>
      <p:ext uri="{BB962C8B-B14F-4D97-AF65-F5344CB8AC3E}">
        <p14:creationId xmlns:p14="http://schemas.microsoft.com/office/powerpoint/2010/main" val="77128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1361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2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ihandform: Form 2">
            <a:extLst>
              <a:ext uri="{FF2B5EF4-FFF2-40B4-BE49-F238E27FC236}">
                <a16:creationId xmlns:a16="http://schemas.microsoft.com/office/drawing/2014/main" id="{D2A87101-705A-4EF9-CF45-5EFDF6609B7C}"/>
              </a:ext>
            </a:extLst>
          </p:cNvPr>
          <p:cNvSpPr>
            <a:spLocks/>
          </p:cNvSpPr>
          <p:nvPr userDrawn="1"/>
        </p:nvSpPr>
        <p:spPr>
          <a:xfrm flipH="1">
            <a:off x="538161" y="1"/>
            <a:ext cx="11653838" cy="6039772"/>
          </a:xfrm>
          <a:custGeom>
            <a:avLst/>
            <a:gdLst>
              <a:gd name="connsiteX0" fmla="*/ 11682411 w 11682412"/>
              <a:gd name="connsiteY0" fmla="*/ 5459452 h 6089650"/>
              <a:gd name="connsiteX1" fmla="*/ 11052213 w 11682412"/>
              <a:gd name="connsiteY1" fmla="*/ 5459452 h 6089650"/>
              <a:gd name="connsiteX2" fmla="*/ 11682411 w 11682412"/>
              <a:gd name="connsiteY2" fmla="*/ 6089650 h 6089650"/>
              <a:gd name="connsiteX3" fmla="*/ 11682412 w 11682412"/>
              <a:gd name="connsiteY3" fmla="*/ 0 h 6089650"/>
              <a:gd name="connsiteX4" fmla="*/ 0 w 11682412"/>
              <a:gd name="connsiteY4" fmla="*/ 0 h 6089650"/>
              <a:gd name="connsiteX5" fmla="*/ 0 w 11682412"/>
              <a:gd name="connsiteY5" fmla="*/ 5459451 h 6089650"/>
              <a:gd name="connsiteX6" fmla="*/ 11682412 w 11682412"/>
              <a:gd name="connsiteY6" fmla="*/ 5459451 h 6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82412" h="6089650">
                <a:moveTo>
                  <a:pt x="11682411" y="5459452"/>
                </a:moveTo>
                <a:lnTo>
                  <a:pt x="11052213" y="5459452"/>
                </a:lnTo>
                <a:lnTo>
                  <a:pt x="11682411" y="6089650"/>
                </a:lnTo>
                <a:close/>
                <a:moveTo>
                  <a:pt x="11682412" y="0"/>
                </a:moveTo>
                <a:lnTo>
                  <a:pt x="0" y="0"/>
                </a:lnTo>
                <a:lnTo>
                  <a:pt x="0" y="5459451"/>
                </a:lnTo>
                <a:lnTo>
                  <a:pt x="11682412" y="545945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414143A-543B-43DF-84FB-C94687CBCBC6}" type="datetime1">
              <a:rPr lang="en-US" smtClean="0"/>
              <a:t>12/09/2025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1481000" y="4596549"/>
            <a:ext cx="8289001" cy="276999"/>
          </a:xfrm>
        </p:spPr>
        <p:txBody>
          <a:bodyPr wrap="square" anchor="b">
            <a:sp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– Speaker Name, Compan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1481000" y="539028"/>
            <a:ext cx="8286884" cy="3558797"/>
          </a:xfrm>
        </p:spPr>
        <p:txBody>
          <a:bodyPr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Quote </a:t>
            </a:r>
            <a:br>
              <a:rPr lang="en-US" dirty="0"/>
            </a:br>
            <a:r>
              <a:rPr lang="en-US" dirty="0"/>
              <a:t>or a Statement!</a:t>
            </a:r>
          </a:p>
        </p:txBody>
      </p:sp>
    </p:spTree>
    <p:extLst>
      <p:ext uri="{BB962C8B-B14F-4D97-AF65-F5344CB8AC3E}">
        <p14:creationId xmlns:p14="http://schemas.microsoft.com/office/powerpoint/2010/main" val="4036107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307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2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ihandform: Form 2">
            <a:extLst>
              <a:ext uri="{FF2B5EF4-FFF2-40B4-BE49-F238E27FC236}">
                <a16:creationId xmlns:a16="http://schemas.microsoft.com/office/drawing/2014/main" id="{D2A87101-705A-4EF9-CF45-5EFDF6609B7C}"/>
              </a:ext>
            </a:extLst>
          </p:cNvPr>
          <p:cNvSpPr>
            <a:spLocks/>
          </p:cNvSpPr>
          <p:nvPr userDrawn="1"/>
        </p:nvSpPr>
        <p:spPr>
          <a:xfrm flipH="1">
            <a:off x="538161" y="1"/>
            <a:ext cx="11653838" cy="6039772"/>
          </a:xfrm>
          <a:custGeom>
            <a:avLst/>
            <a:gdLst>
              <a:gd name="connsiteX0" fmla="*/ 11682411 w 11682412"/>
              <a:gd name="connsiteY0" fmla="*/ 5459452 h 6089650"/>
              <a:gd name="connsiteX1" fmla="*/ 11052213 w 11682412"/>
              <a:gd name="connsiteY1" fmla="*/ 5459452 h 6089650"/>
              <a:gd name="connsiteX2" fmla="*/ 11682411 w 11682412"/>
              <a:gd name="connsiteY2" fmla="*/ 6089650 h 6089650"/>
              <a:gd name="connsiteX3" fmla="*/ 11682412 w 11682412"/>
              <a:gd name="connsiteY3" fmla="*/ 0 h 6089650"/>
              <a:gd name="connsiteX4" fmla="*/ 0 w 11682412"/>
              <a:gd name="connsiteY4" fmla="*/ 0 h 6089650"/>
              <a:gd name="connsiteX5" fmla="*/ 0 w 11682412"/>
              <a:gd name="connsiteY5" fmla="*/ 5459451 h 6089650"/>
              <a:gd name="connsiteX6" fmla="*/ 11682412 w 11682412"/>
              <a:gd name="connsiteY6" fmla="*/ 5459451 h 6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82412" h="6089650">
                <a:moveTo>
                  <a:pt x="11682411" y="5459452"/>
                </a:moveTo>
                <a:lnTo>
                  <a:pt x="11052213" y="5459452"/>
                </a:lnTo>
                <a:lnTo>
                  <a:pt x="11682411" y="6089650"/>
                </a:lnTo>
                <a:close/>
                <a:moveTo>
                  <a:pt x="11682412" y="0"/>
                </a:moveTo>
                <a:lnTo>
                  <a:pt x="0" y="0"/>
                </a:lnTo>
                <a:lnTo>
                  <a:pt x="0" y="5459451"/>
                </a:lnTo>
                <a:lnTo>
                  <a:pt x="11682412" y="545945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C36D34-3E72-428F-AABC-1D5E8A63697A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1000" y="4596549"/>
            <a:ext cx="8289001" cy="276999"/>
          </a:xfrm>
        </p:spPr>
        <p:txBody>
          <a:bodyPr wrap="square" anchor="b">
            <a:sp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– Speaker Name, Compan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1000" y="539028"/>
            <a:ext cx="8286884" cy="3558797"/>
          </a:xfrm>
        </p:spPr>
        <p:txBody>
          <a:bodyPr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Quote </a:t>
            </a:r>
            <a:br>
              <a:rPr lang="en-US" dirty="0"/>
            </a:br>
            <a:r>
              <a:rPr lang="en-US" dirty="0"/>
              <a:t>or a Statement!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5986D47-DDBD-CF8D-5D24-F34387F3EDC8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A1F987F-F688-441E-3BA8-3F1CD4881513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solidFill>
              <a:srgbClr val="004F9F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0A2ECA4-B178-EC9C-089B-F475B51F1D2C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15485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307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0B7E7AC-F61D-BAAD-21A2-FF6105310ED7}"/>
              </a:ext>
            </a:extLst>
          </p:cNvPr>
          <p:cNvSpPr>
            <a:spLocks/>
          </p:cNvSpPr>
          <p:nvPr userDrawn="1"/>
        </p:nvSpPr>
        <p:spPr>
          <a:xfrm>
            <a:off x="7709066" y="0"/>
            <a:ext cx="448293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81001" y="6463427"/>
            <a:ext cx="5868065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1001" y="2991585"/>
            <a:ext cx="5868065" cy="430887"/>
          </a:xfrm>
        </p:spPr>
        <p:txBody>
          <a:bodyPr wrap="square" anchor="t">
            <a:sp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1001" y="2160588"/>
            <a:ext cx="5868065" cy="830997"/>
          </a:xfrm>
        </p:spPr>
        <p:txBody>
          <a:bodyPr wrap="square" anchor="b">
            <a:spAutoFit/>
          </a:bodyPr>
          <a:lstStyle>
            <a:lvl1pPr>
              <a:defRPr sz="5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3ECE5AC-E1D5-54E6-0C6B-6999C3FC13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8064500" y="3422472"/>
            <a:ext cx="3587751" cy="26227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name Last name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Group / Region / Department XY </a:t>
            </a:r>
            <a:br>
              <a:rPr lang="en-US" dirty="0"/>
            </a:br>
            <a:r>
              <a:rPr lang="en-US" dirty="0"/>
              <a:t>Street 123, 12345 City</a:t>
            </a: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Phone: +49 123 45 67 89</a:t>
            </a:r>
            <a:br>
              <a:rPr lang="en-US" dirty="0"/>
            </a:br>
            <a:r>
              <a:rPr lang="en-US" dirty="0"/>
              <a:t>Mobile: +49 123 45 67 89 0</a:t>
            </a:r>
            <a:br>
              <a:rPr lang="en-US" dirty="0"/>
            </a:br>
            <a:r>
              <a:rPr lang="en-US" dirty="0"/>
              <a:t>Web: Al-Futtaim.com</a:t>
            </a:r>
            <a:br>
              <a:rPr lang="en-US" dirty="0"/>
            </a:br>
            <a:r>
              <a:rPr lang="en-US" dirty="0"/>
              <a:t>E-mail: firstname.lastname@Al-Futtaim.com</a:t>
            </a:r>
          </a:p>
        </p:txBody>
      </p:sp>
    </p:spTree>
    <p:extLst>
      <p:ext uri="{BB962C8B-B14F-4D97-AF65-F5344CB8AC3E}">
        <p14:creationId xmlns:p14="http://schemas.microsoft.com/office/powerpoint/2010/main" val="3309225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1361" userDrawn="1">
          <p15:clr>
            <a:srgbClr val="FBAE40"/>
          </p15:clr>
        </p15:guide>
        <p15:guide id="3" pos="4852" userDrawn="1">
          <p15:clr>
            <a:srgbClr val="FBAE40"/>
          </p15:clr>
        </p15:guide>
        <p15:guide id="4" pos="508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0B7E7AC-F61D-BAAD-21A2-FF6105310ED7}"/>
              </a:ext>
            </a:extLst>
          </p:cNvPr>
          <p:cNvSpPr>
            <a:spLocks/>
          </p:cNvSpPr>
          <p:nvPr userDrawn="1"/>
        </p:nvSpPr>
        <p:spPr>
          <a:xfrm>
            <a:off x="7709066" y="0"/>
            <a:ext cx="4482934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81001" y="6463427"/>
            <a:ext cx="5868065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1001" y="2991585"/>
            <a:ext cx="5868065" cy="430887"/>
          </a:xfrm>
        </p:spPr>
        <p:txBody>
          <a:bodyPr wrap="square" anchor="t">
            <a:sp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1001" y="2160588"/>
            <a:ext cx="5868065" cy="830997"/>
          </a:xfrm>
        </p:spPr>
        <p:txBody>
          <a:bodyPr wrap="square" anchor="b">
            <a:spAutoFit/>
          </a:bodyPr>
          <a:lstStyle>
            <a:lvl1pPr>
              <a:defRPr sz="5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F4CB8E-5DE9-089C-9A08-DA75CE75D5AD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9FA34CD5-5FE5-EB73-EC58-D315B6E14E3F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solidFill>
              <a:srgbClr val="004F9F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35E918FF-2F14-E241-8D2D-C551F3E19631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89EB29-6E0E-9C3E-3959-D63C68AA69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4500" y="3422472"/>
            <a:ext cx="3587751" cy="26227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First name Last name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Group / Region / Department XY </a:t>
            </a:r>
            <a:br>
              <a:rPr lang="en-US" dirty="0"/>
            </a:br>
            <a:r>
              <a:rPr lang="en-US" dirty="0"/>
              <a:t>Street 123, 12345 City</a:t>
            </a: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Phone: +49 123 45 67 89</a:t>
            </a:r>
            <a:br>
              <a:rPr lang="en-US" dirty="0"/>
            </a:br>
            <a:r>
              <a:rPr lang="en-US" dirty="0"/>
              <a:t>Mobile: +49 123 45 67 89 0</a:t>
            </a:r>
            <a:br>
              <a:rPr lang="en-US" dirty="0"/>
            </a:br>
            <a:r>
              <a:rPr lang="en-US" dirty="0"/>
              <a:t>Web: Al-Futtaim.com</a:t>
            </a:r>
            <a:br>
              <a:rPr lang="en-US" dirty="0"/>
            </a:br>
            <a:r>
              <a:rPr lang="en-US" dirty="0"/>
              <a:t>E-mail: firstname.lastname@Al-Futtaim.com</a:t>
            </a:r>
          </a:p>
        </p:txBody>
      </p:sp>
    </p:spTree>
    <p:extLst>
      <p:ext uri="{BB962C8B-B14F-4D97-AF65-F5344CB8AC3E}">
        <p14:creationId xmlns:p14="http://schemas.microsoft.com/office/powerpoint/2010/main" val="394697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1361" userDrawn="1">
          <p15:clr>
            <a:srgbClr val="FBAE40"/>
          </p15:clr>
        </p15:guide>
        <p15:guide id="3" pos="4852" userDrawn="1">
          <p15:clr>
            <a:srgbClr val="FBAE40"/>
          </p15:clr>
        </p15:guide>
        <p15:guide id="4" pos="508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716AE16-79F0-4139-BB59-5C393A9379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C4F21E1C-868B-415C-9F6A-B37EDAC851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AB7D844-DE23-4090-A9C2-329AE78BF5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77C61-80C7-4ACF-8261-858386295CF1}" type="datetimeFigureOut">
              <a:rPr kumimoji="1" lang="ja-JP" altLang="en-US" smtClean="0"/>
              <a:t>2025/9/12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A16FE231-8041-4BE4-95C7-4F1771919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A6CB79D-FEC6-41E7-9092-4218F90E3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4B43E-490A-459B-9674-6DB1F312E6C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595439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6"/>
          <p:cNvSpPr>
            <a:spLocks noGrp="1"/>
          </p:cNvSpPr>
          <p:nvPr>
            <p:ph type="title"/>
          </p:nvPr>
        </p:nvSpPr>
        <p:spPr>
          <a:xfrm>
            <a:off x="623272" y="20506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9155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EC56D-5B73-6DFE-A294-8149185838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ar-A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051562-4C0C-A762-D928-DE7F0707BD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ar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F8AF03-D6DD-8632-F0F3-88EDE3641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D6EF44-B97A-45FE-B6C8-40C400A1F3FF}" type="datetimeFigureOut">
              <a:rPr lang="ar-AE" smtClean="0"/>
              <a:t>20/03/1447</a:t>
            </a:fld>
            <a:endParaRPr lang="ar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38248A-E1F3-4B49-0774-CBACA7ED2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9DF7D3-69D3-E74F-D00A-159824D00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406670-4A28-4FB0-B4B2-6E68BDFA4DE3}" type="slidenum">
              <a:rPr lang="ar-AE" smtClean="0"/>
              <a:t>‹#›</a:t>
            </a:fld>
            <a:endParaRPr lang="ar-AE"/>
          </a:p>
        </p:txBody>
      </p:sp>
    </p:spTree>
    <p:extLst>
      <p:ext uri="{BB962C8B-B14F-4D97-AF65-F5344CB8AC3E}">
        <p14:creationId xmlns:p14="http://schemas.microsoft.com/office/powerpoint/2010/main" val="38492321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90D29B5-35A6-4D03-B78E-2E667F3E012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659312" y="0"/>
            <a:ext cx="753268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17">
            <a:extLst>
              <a:ext uri="{FF2B5EF4-FFF2-40B4-BE49-F238E27FC236}">
                <a16:creationId xmlns:a16="http://schemas.microsoft.com/office/drawing/2014/main" id="{9F190065-DC75-4493-B7D2-391D6AC711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276" y="1673346"/>
            <a:ext cx="3732905" cy="416362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en-US" sz="1050" kern="1200" dirty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>
              <a:lnSpc>
                <a:spcPct val="100000"/>
              </a:lnSpc>
              <a:defRPr sz="1050">
                <a:solidFill>
                  <a:schemeClr val="bg2"/>
                </a:solidFill>
              </a:defRPr>
            </a:lvl2pPr>
            <a:lvl3pPr>
              <a:defRPr sz="1050">
                <a:solidFill>
                  <a:schemeClr val="bg2"/>
                </a:solidFill>
              </a:defRPr>
            </a:lvl3pPr>
            <a:lvl4pPr>
              <a:defRPr sz="1050">
                <a:solidFill>
                  <a:schemeClr val="bg2"/>
                </a:solidFill>
              </a:defRPr>
            </a:lvl4pPr>
            <a:lvl5pPr>
              <a:defRPr sz="1050"/>
            </a:lvl5pPr>
            <a:lvl6pPr>
              <a:defRPr sz="1050">
                <a:solidFill>
                  <a:schemeClr val="bg2"/>
                </a:solidFill>
              </a:defRPr>
            </a:lvl6pPr>
            <a:lvl7pPr>
              <a:defRPr sz="1050">
                <a:solidFill>
                  <a:schemeClr val="bg2"/>
                </a:solidFill>
              </a:defRPr>
            </a:lvl7pPr>
            <a:lvl8pPr>
              <a:defRPr sz="1050">
                <a:solidFill>
                  <a:schemeClr val="bg2"/>
                </a:solidFill>
              </a:defRPr>
            </a:lvl8pPr>
            <a:lvl9pPr>
              <a:buNone/>
              <a:defRPr sz="1050"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Insert Text</a:t>
            </a:r>
          </a:p>
          <a:p>
            <a:pPr lvl="2"/>
            <a:endParaRPr lang="en-US"/>
          </a:p>
          <a:p>
            <a:pPr lvl="8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5107F99-135D-4BBE-90C6-C70E95218C2A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08276" y="439329"/>
            <a:ext cx="3732905" cy="3269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Aston Martin Flare Medium" panose="020E0603040504020204" pitchFamily="34" charset="0"/>
                <a:cs typeface="Aston Martin Flare Medium" panose="020E060304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age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BE00725-474B-416B-9142-D595D78AFAB4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608276" y="1292676"/>
            <a:ext cx="3732905" cy="326975"/>
          </a:xfrm>
          <a:prstGeom prst="rect">
            <a:avLst/>
          </a:prstGeom>
        </p:spPr>
        <p:txBody>
          <a:bodyPr/>
          <a:lstStyle>
            <a:lvl1pPr>
              <a:buNone/>
              <a:defRPr sz="1400">
                <a:solidFill>
                  <a:schemeClr val="bg1">
                    <a:lumMod val="50000"/>
                  </a:schemeClr>
                </a:solidFill>
                <a:latin typeface="Aston Martin Sans" panose="020B0503020203020204" pitchFamily="34" charset="0"/>
                <a:cs typeface="Aston Martin Sans" panose="020B0503020203020204" pitchFamily="34" charset="0"/>
              </a:defRPr>
            </a:lvl1pPr>
          </a:lstStyle>
          <a:p>
            <a:r>
              <a:rPr lang="en-GB"/>
              <a:t>Sub-Heading</a:t>
            </a:r>
          </a:p>
        </p:txBody>
      </p:sp>
    </p:spTree>
    <p:extLst>
      <p:ext uri="{BB962C8B-B14F-4D97-AF65-F5344CB8AC3E}">
        <p14:creationId xmlns:p14="http://schemas.microsoft.com/office/powerpoint/2010/main" val="442250458"/>
      </p:ext>
    </p:extLst>
  </p:cSld>
  <p:clrMapOvr>
    <a:masterClrMapping/>
  </p:clrMapOvr>
  <p:transition spd="slow">
    <p:cover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Four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832852" y="-1"/>
            <a:ext cx="3359149" cy="398417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378452" y="-1"/>
            <a:ext cx="3359149" cy="348386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832852" y="4056654"/>
            <a:ext cx="3359149" cy="280134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378452" y="3554966"/>
            <a:ext cx="3359149" cy="330303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itle Placeholder 6">
            <a:extLst>
              <a:ext uri="{FF2B5EF4-FFF2-40B4-BE49-F238E27FC236}">
                <a16:creationId xmlns:a16="http://schemas.microsoft.com/office/drawing/2014/main" id="{C30D4BDA-C54C-4AB6-812F-7FADC65AD1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01" y="470766"/>
            <a:ext cx="530534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80000"/>
              </a:lnSpc>
              <a:defRPr b="0" i="0">
                <a:latin typeface="Gotham Condensed Medium" panose="02000606030000020004" pitchFamily="50" charset="0"/>
                <a:ea typeface="Gotham Condensed Medium" panose="02000606030000020004" pitchFamily="50" charset="0"/>
                <a:cs typeface="Gotham Condensed Medium" panose="0200060603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4616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with image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4332800"/>
            <a:ext cx="11112502" cy="498598"/>
          </a:xfrm>
        </p:spPr>
        <p:txBody>
          <a:bodyPr anchor="b">
            <a:sp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4831398"/>
            <a:ext cx="11112502" cy="276999"/>
          </a:xfrm>
        </p:spPr>
        <p:txBody>
          <a:bodyPr>
            <a:spAutoFit/>
          </a:bodyPr>
          <a:lstStyle>
            <a:lvl1pPr marL="0" indent="0" algn="l">
              <a:buNone/>
              <a:defRPr sz="1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D383AD4-FE7F-970C-622A-7ECEF38EB6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423465"/>
          </a:xfrm>
          <a:solidFill>
            <a:schemeClr val="accent4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E8A4B62-2CDE-8BDE-A1E0-6E4E632CC8A2}"/>
              </a:ext>
            </a:extLst>
          </p:cNvPr>
          <p:cNvGrpSpPr>
            <a:grpSpLocks/>
          </p:cNvGrpSpPr>
          <p:nvPr userDrawn="1"/>
        </p:nvGrpSpPr>
        <p:grpSpPr>
          <a:xfrm>
            <a:off x="539261" y="3700464"/>
            <a:ext cx="1704301" cy="363146"/>
            <a:chOff x="9951588" y="538699"/>
            <a:chExt cx="1704301" cy="363146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8BD4D0C-D116-3ACE-3A99-213BA02AA8E7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solidFill>
              <a:srgbClr val="004F9F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5F62912-AD05-DB00-3F45-40DAF6BFF1F9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83035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329" userDrawn="1">
          <p15:clr>
            <a:srgbClr val="FBAE40"/>
          </p15:clr>
        </p15:guide>
        <p15:guide id="5" orient="horz" pos="215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1" hidden="1">
            <a:extLst>
              <a:ext uri="{FF2B5EF4-FFF2-40B4-BE49-F238E27FC236}">
                <a16:creationId xmlns:a16="http://schemas.microsoft.com/office/drawing/2014/main" id="{AA1E6CCA-9B71-415B-9A84-925935E1E3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324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61" hidden="1">
                        <a:extLst>
                          <a:ext uri="{FF2B5EF4-FFF2-40B4-BE49-F238E27FC236}">
                            <a16:creationId xmlns:a16="http://schemas.microsoft.com/office/drawing/2014/main" id="{AA1E6CCA-9B71-415B-9A84-925935E1E3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3240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>
            <a:extLst>
              <a:ext uri="{FF2B5EF4-FFF2-40B4-BE49-F238E27FC236}">
                <a16:creationId xmlns:a16="http://schemas.microsoft.com/office/drawing/2014/main" id="{859FF301-76B8-4DCA-ABAE-54C1B0FE2D94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323950"/>
            <a:ext cx="3795119" cy="128097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816" b="1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>
            <a:extLst>
              <a:ext uri="{FF2B5EF4-FFF2-40B4-BE49-F238E27FC236}">
                <a16:creationId xmlns:a16="http://schemas.microsoft.com/office/drawing/2014/main" id="{E8BE2937-A72C-47DD-BC8C-7F3574FCC19F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466487"/>
            <a:ext cx="3795119" cy="12634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sz="816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C518D43E-4FA2-4425-B795-DD08CD9CD5E8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610645"/>
            <a:ext cx="3795119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sz="816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Document type" hidden="1">
            <a:extLst>
              <a:ext uri="{FF2B5EF4-FFF2-40B4-BE49-F238E27FC236}">
                <a16:creationId xmlns:a16="http://schemas.microsoft.com/office/drawing/2014/main" id="{4411D0D7-8C69-4531-B852-88B88E33978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9170" y="6324426"/>
            <a:ext cx="8048632" cy="22420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>
                <a:latin typeface="+mn-lt"/>
              </a:rPr>
              <a:t>Document type | Date</a:t>
            </a:r>
          </a:p>
        </p:txBody>
      </p:sp>
      <p:pic>
        <p:nvPicPr>
          <p:cNvPr id="9" name="Picture 600" descr="C:\Users\MYTHIL~1\AppData\Local\Temp\notes1FCF23\~b522205.TMP">
            <a:extLst>
              <a:ext uri="{FF2B5EF4-FFF2-40B4-BE49-F238E27FC236}">
                <a16:creationId xmlns:a16="http://schemas.microsoft.com/office/drawing/2014/main" id="{4876F5E9-4D19-4B4B-AC7C-A89DCA57F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8967040" y="6007634"/>
            <a:ext cx="3027348" cy="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oc id">
            <a:extLst>
              <a:ext uri="{FF2B5EF4-FFF2-40B4-BE49-F238E27FC236}">
                <a16:creationId xmlns:a16="http://schemas.microsoft.com/office/drawing/2014/main" id="{54262B50-AA79-42F9-8E03-2E7701CD8861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0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16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11">
            <a:extLst>
              <a:ext uri="{FF2B5EF4-FFF2-40B4-BE49-F238E27FC236}">
                <a16:creationId xmlns:a16="http://schemas.microsoft.com/office/drawing/2014/main" id="{67E247E5-54AD-492D-8E59-73E56A3197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5011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/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/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1039763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2DF5B90E-9157-46A6-9F11-100E147B3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2DF5B90E-9157-46A6-9F11-100E147B31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>
            <a:extLst>
              <a:ext uri="{FF2B5EF4-FFF2-40B4-BE49-F238E27FC236}">
                <a16:creationId xmlns:a16="http://schemas.microsoft.com/office/drawing/2014/main" id="{E580134A-1476-41D1-BF6F-36E9E67E11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2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816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003145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7F4536E7-B0CF-46FC-A490-F064F3EA89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7F4536E7-B0CF-46FC-A490-F064F3EA891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2">
            <a:extLst>
              <a:ext uri="{FF2B5EF4-FFF2-40B4-BE49-F238E27FC236}">
                <a16:creationId xmlns:a16="http://schemas.microsoft.com/office/drawing/2014/main" id="{561F7470-B738-4068-BA51-DBE370E447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6" r="2364" b="5876"/>
          <a:stretch>
            <a:fillRect/>
          </a:stretch>
        </p:blipFill>
        <p:spPr bwMode="ltGray">
          <a:xfrm>
            <a:off x="3240" y="5244223"/>
            <a:ext cx="12188760" cy="1276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>
            <a:extLst>
              <a:ext uri="{FF2B5EF4-FFF2-40B4-BE49-F238E27FC236}">
                <a16:creationId xmlns:a16="http://schemas.microsoft.com/office/drawing/2014/main" id="{D18089CF-11A0-4FD5-8F87-36A18D827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2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816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50771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52DFB2BE-3264-47B1-AC1A-96868B4D4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52DFB2BE-3264-47B1-AC1A-96868B4D41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57495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27852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EAF9F3-7602-4989-BDF4-F5A416C9874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9695" y="1876609"/>
            <a:ext cx="4646019" cy="93598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17461D3-4A65-4D9F-92E7-EA27C2E071A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583329" y="3455286"/>
            <a:ext cx="8087165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pt-BR" sz="1800" kern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E0E9F7E-88C1-43B3-AE8D-99F91CDC75E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3328" y="3230390"/>
            <a:ext cx="9069676" cy="369332"/>
          </a:xfrm>
        </p:spPr>
        <p:txBody>
          <a:bodyPr/>
          <a:lstStyle>
            <a:lvl1pPr>
              <a:defRPr sz="2400" b="1"/>
            </a:lvl1pPr>
            <a:lvl2pPr marL="162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52B3E7D-B996-406C-ACB4-434F99E08F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3328" y="3824618"/>
            <a:ext cx="4682114" cy="24622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8761810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6001" y="1143624"/>
            <a:ext cx="11340000" cy="1256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B36A5736-EF74-4B19-9549-C4B41CD10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000" y="322641"/>
            <a:ext cx="8941520" cy="314028"/>
          </a:xfrm>
          <a:prstGeom prst="rect">
            <a:avLst/>
          </a:prstGeom>
        </p:spPr>
        <p:txBody>
          <a:bodyPr vert="horz" anchor="ctr"/>
          <a:lstStyle/>
          <a:p>
            <a:r>
              <a:rPr lang="en-US" altLang="nl-NL"/>
              <a:t>Click to edit title (max. 2 line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0028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er Ecosys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72450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90960" y="1622139"/>
            <a:ext cx="11410091" cy="1256112"/>
          </a:xfrm>
        </p:spPr>
        <p:txBody>
          <a:bodyPr/>
          <a:lstStyle>
            <a:lvl1pPr>
              <a:defRPr baseline="0"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9933" y="1006137"/>
            <a:ext cx="11410091" cy="410668"/>
          </a:xfrm>
        </p:spPr>
        <p:txBody>
          <a:bodyPr>
            <a:noAutofit/>
          </a:bodyPr>
          <a:lstStyle>
            <a:lvl1pPr marL="0" indent="0">
              <a:lnSpc>
                <a:spcPts val="2737"/>
              </a:lnSpc>
              <a:buNone/>
              <a:defRPr sz="2281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389930" y="319273"/>
            <a:ext cx="10972800" cy="31402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171036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28255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628256" y="3449115"/>
            <a:ext cx="8840220" cy="31402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2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6B6AC-D72B-46FF-9365-159E21B30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630" y="3840458"/>
            <a:ext cx="8840220" cy="215444"/>
          </a:xfrm>
        </p:spPr>
        <p:txBody>
          <a:bodyPr/>
          <a:lstStyle>
            <a:lvl3pPr marL="111125" indent="0">
              <a:buNone/>
              <a:defRPr sz="1400">
                <a:solidFill>
                  <a:schemeClr val="accent4"/>
                </a:solidFill>
              </a:defRPr>
            </a:lvl3pPr>
          </a:lstStyle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2045004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bilingual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1875367"/>
            <a:ext cx="11112502" cy="1821921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3970338"/>
            <a:ext cx="11112502" cy="942022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F6D1DAD-05DF-9AD9-7E5E-DD88E78C0A43}"/>
              </a:ext>
            </a:extLst>
          </p:cNvPr>
          <p:cNvSpPr>
            <a:spLocks/>
          </p:cNvSpPr>
          <p:nvPr/>
        </p:nvSpPr>
        <p:spPr bwMode="black">
          <a:xfrm>
            <a:off x="539748" y="1071851"/>
            <a:ext cx="2493533" cy="436490"/>
          </a:xfrm>
          <a:custGeom>
            <a:avLst/>
            <a:gdLst>
              <a:gd name="connsiteX0" fmla="*/ 259606 w 1185143"/>
              <a:gd name="connsiteY0" fmla="*/ 138234 h 207458"/>
              <a:gd name="connsiteX1" fmla="*/ 311539 w 1185143"/>
              <a:gd name="connsiteY1" fmla="*/ 138234 h 207458"/>
              <a:gd name="connsiteX2" fmla="*/ 311539 w 1185143"/>
              <a:gd name="connsiteY2" fmla="*/ 103486 h 207458"/>
              <a:gd name="connsiteX3" fmla="*/ 259606 w 1185143"/>
              <a:gd name="connsiteY3" fmla="*/ 103486 h 207458"/>
              <a:gd name="connsiteX4" fmla="*/ 259606 w 1185143"/>
              <a:gd name="connsiteY4" fmla="*/ 138234 h 207458"/>
              <a:gd name="connsiteX5" fmla="*/ 787196 w 1185143"/>
              <a:gd name="connsiteY5" fmla="*/ 103756 h 207458"/>
              <a:gd name="connsiteX6" fmla="*/ 821943 w 1185143"/>
              <a:gd name="connsiteY6" fmla="*/ 103756 h 207458"/>
              <a:gd name="connsiteX7" fmla="*/ 821943 w 1185143"/>
              <a:gd name="connsiteY7" fmla="*/ 172981 h 207458"/>
              <a:gd name="connsiteX8" fmla="*/ 787196 w 1185143"/>
              <a:gd name="connsiteY8" fmla="*/ 172981 h 207458"/>
              <a:gd name="connsiteX9" fmla="*/ 787196 w 1185143"/>
              <a:gd name="connsiteY9" fmla="*/ 103756 h 207458"/>
              <a:gd name="connsiteX10" fmla="*/ 752718 w 1185143"/>
              <a:gd name="connsiteY10" fmla="*/ 69225 h 207458"/>
              <a:gd name="connsiteX11" fmla="*/ 735318 w 1185143"/>
              <a:gd name="connsiteY11" fmla="*/ 103756 h 207458"/>
              <a:gd name="connsiteX12" fmla="*/ 735318 w 1185143"/>
              <a:gd name="connsiteY12" fmla="*/ 172981 h 207458"/>
              <a:gd name="connsiteX13" fmla="*/ 752718 w 1185143"/>
              <a:gd name="connsiteY13" fmla="*/ 207458 h 207458"/>
              <a:gd name="connsiteX14" fmla="*/ 873821 w 1185143"/>
              <a:gd name="connsiteY14" fmla="*/ 207458 h 207458"/>
              <a:gd name="connsiteX15" fmla="*/ 873821 w 1185143"/>
              <a:gd name="connsiteY15" fmla="*/ 69225 h 207458"/>
              <a:gd name="connsiteX16" fmla="*/ 752718 w 1185143"/>
              <a:gd name="connsiteY16" fmla="*/ 69225 h 207458"/>
              <a:gd name="connsiteX17" fmla="*/ 977577 w 1185143"/>
              <a:gd name="connsiteY17" fmla="*/ 69225 h 207458"/>
              <a:gd name="connsiteX18" fmla="*/ 977577 w 1185143"/>
              <a:gd name="connsiteY18" fmla="*/ 207458 h 207458"/>
              <a:gd name="connsiteX19" fmla="*/ 1029455 w 1185143"/>
              <a:gd name="connsiteY19" fmla="*/ 207458 h 207458"/>
              <a:gd name="connsiteX20" fmla="*/ 1029455 w 1185143"/>
              <a:gd name="connsiteY20" fmla="*/ 103756 h 207458"/>
              <a:gd name="connsiteX21" fmla="*/ 1055394 w 1185143"/>
              <a:gd name="connsiteY21" fmla="*/ 103756 h 207458"/>
              <a:gd name="connsiteX22" fmla="*/ 1055394 w 1185143"/>
              <a:gd name="connsiteY22" fmla="*/ 207458 h 207458"/>
              <a:gd name="connsiteX23" fmla="*/ 1107273 w 1185143"/>
              <a:gd name="connsiteY23" fmla="*/ 207458 h 207458"/>
              <a:gd name="connsiteX24" fmla="*/ 1107273 w 1185143"/>
              <a:gd name="connsiteY24" fmla="*/ 103756 h 207458"/>
              <a:gd name="connsiteX25" fmla="*/ 1133266 w 1185143"/>
              <a:gd name="connsiteY25" fmla="*/ 103756 h 207458"/>
              <a:gd name="connsiteX26" fmla="*/ 1133266 w 1185143"/>
              <a:gd name="connsiteY26" fmla="*/ 207458 h 207458"/>
              <a:gd name="connsiteX27" fmla="*/ 1185144 w 1185143"/>
              <a:gd name="connsiteY27" fmla="*/ 207458 h 207458"/>
              <a:gd name="connsiteX28" fmla="*/ 1185144 w 1185143"/>
              <a:gd name="connsiteY28" fmla="*/ 103756 h 207458"/>
              <a:gd name="connsiteX29" fmla="*/ 1168013 w 1185143"/>
              <a:gd name="connsiteY29" fmla="*/ 69225 h 207458"/>
              <a:gd name="connsiteX30" fmla="*/ 977631 w 1185143"/>
              <a:gd name="connsiteY30" fmla="*/ 69225 h 207458"/>
              <a:gd name="connsiteX31" fmla="*/ 899760 w 1185143"/>
              <a:gd name="connsiteY31" fmla="*/ 207458 h 207458"/>
              <a:gd name="connsiteX32" fmla="*/ 951692 w 1185143"/>
              <a:gd name="connsiteY32" fmla="*/ 207458 h 207458"/>
              <a:gd name="connsiteX33" fmla="*/ 951692 w 1185143"/>
              <a:gd name="connsiteY33" fmla="*/ 69225 h 207458"/>
              <a:gd name="connsiteX34" fmla="*/ 899760 w 1185143"/>
              <a:gd name="connsiteY34" fmla="*/ 69009 h 207458"/>
              <a:gd name="connsiteX35" fmla="*/ 899760 w 1185143"/>
              <a:gd name="connsiteY35" fmla="*/ 207458 h 207458"/>
              <a:gd name="connsiteX36" fmla="*/ 112565 w 1185143"/>
              <a:gd name="connsiteY36" fmla="*/ 34477 h 207458"/>
              <a:gd name="connsiteX37" fmla="*/ 112565 w 1185143"/>
              <a:gd name="connsiteY37" fmla="*/ 103756 h 207458"/>
              <a:gd name="connsiteX38" fmla="*/ 86355 w 1185143"/>
              <a:gd name="connsiteY38" fmla="*/ 103756 h 207458"/>
              <a:gd name="connsiteX39" fmla="*/ 112565 w 1185143"/>
              <a:gd name="connsiteY39" fmla="*/ 34477 h 207458"/>
              <a:gd name="connsiteX40" fmla="*/ 69225 w 1185143"/>
              <a:gd name="connsiteY40" fmla="*/ 0 h 207458"/>
              <a:gd name="connsiteX41" fmla="*/ 0 w 1185143"/>
              <a:gd name="connsiteY41" fmla="*/ 207458 h 207458"/>
              <a:gd name="connsiteX42" fmla="*/ 51878 w 1185143"/>
              <a:gd name="connsiteY42" fmla="*/ 207458 h 207458"/>
              <a:gd name="connsiteX43" fmla="*/ 77817 w 1185143"/>
              <a:gd name="connsiteY43" fmla="*/ 138450 h 207458"/>
              <a:gd name="connsiteX44" fmla="*/ 112565 w 1185143"/>
              <a:gd name="connsiteY44" fmla="*/ 138450 h 207458"/>
              <a:gd name="connsiteX45" fmla="*/ 112565 w 1185143"/>
              <a:gd name="connsiteY45" fmla="*/ 207458 h 207458"/>
              <a:gd name="connsiteX46" fmla="*/ 164443 w 1185143"/>
              <a:gd name="connsiteY46" fmla="*/ 207458 h 207458"/>
              <a:gd name="connsiteX47" fmla="*/ 164443 w 1185143"/>
              <a:gd name="connsiteY47" fmla="*/ 0 h 207458"/>
              <a:gd name="connsiteX48" fmla="*/ 69225 w 1185143"/>
              <a:gd name="connsiteY48" fmla="*/ 0 h 207458"/>
              <a:gd name="connsiteX49" fmla="*/ 190328 w 1185143"/>
              <a:gd name="connsiteY49" fmla="*/ 207458 h 207458"/>
              <a:gd name="connsiteX50" fmla="*/ 242206 w 1185143"/>
              <a:gd name="connsiteY50" fmla="*/ 207458 h 207458"/>
              <a:gd name="connsiteX51" fmla="*/ 242206 w 1185143"/>
              <a:gd name="connsiteY51" fmla="*/ 0 h 207458"/>
              <a:gd name="connsiteX52" fmla="*/ 190328 w 1185143"/>
              <a:gd name="connsiteY52" fmla="*/ 0 h 207458"/>
              <a:gd name="connsiteX53" fmla="*/ 190328 w 1185143"/>
              <a:gd name="connsiteY53" fmla="*/ 207458 h 207458"/>
              <a:gd name="connsiteX54" fmla="*/ 328615 w 1185143"/>
              <a:gd name="connsiteY54" fmla="*/ 0 h 207458"/>
              <a:gd name="connsiteX55" fmla="*/ 328615 w 1185143"/>
              <a:gd name="connsiteY55" fmla="*/ 207458 h 207458"/>
              <a:gd name="connsiteX56" fmla="*/ 380493 w 1185143"/>
              <a:gd name="connsiteY56" fmla="*/ 207458 h 207458"/>
              <a:gd name="connsiteX57" fmla="*/ 380493 w 1185143"/>
              <a:gd name="connsiteY57" fmla="*/ 103756 h 207458"/>
              <a:gd name="connsiteX58" fmla="*/ 415295 w 1185143"/>
              <a:gd name="connsiteY58" fmla="*/ 103756 h 207458"/>
              <a:gd name="connsiteX59" fmla="*/ 415295 w 1185143"/>
              <a:gd name="connsiteY59" fmla="*/ 172981 h 207458"/>
              <a:gd name="connsiteX60" fmla="*/ 432641 w 1185143"/>
              <a:gd name="connsiteY60" fmla="*/ 207458 h 207458"/>
              <a:gd name="connsiteX61" fmla="*/ 553798 w 1185143"/>
              <a:gd name="connsiteY61" fmla="*/ 207458 h 207458"/>
              <a:gd name="connsiteX62" fmla="*/ 553798 w 1185143"/>
              <a:gd name="connsiteY62" fmla="*/ 103756 h 207458"/>
              <a:gd name="connsiteX63" fmla="*/ 579737 w 1185143"/>
              <a:gd name="connsiteY63" fmla="*/ 103756 h 207458"/>
              <a:gd name="connsiteX64" fmla="*/ 579737 w 1185143"/>
              <a:gd name="connsiteY64" fmla="*/ 207458 h 207458"/>
              <a:gd name="connsiteX65" fmla="*/ 631561 w 1185143"/>
              <a:gd name="connsiteY65" fmla="*/ 207458 h 207458"/>
              <a:gd name="connsiteX66" fmla="*/ 631561 w 1185143"/>
              <a:gd name="connsiteY66" fmla="*/ 103756 h 207458"/>
              <a:gd name="connsiteX67" fmla="*/ 657555 w 1185143"/>
              <a:gd name="connsiteY67" fmla="*/ 103756 h 207458"/>
              <a:gd name="connsiteX68" fmla="*/ 657555 w 1185143"/>
              <a:gd name="connsiteY68" fmla="*/ 207458 h 207458"/>
              <a:gd name="connsiteX69" fmla="*/ 709433 w 1185143"/>
              <a:gd name="connsiteY69" fmla="*/ 207458 h 207458"/>
              <a:gd name="connsiteX70" fmla="*/ 709433 w 1185143"/>
              <a:gd name="connsiteY70" fmla="*/ 103756 h 207458"/>
              <a:gd name="connsiteX71" fmla="*/ 735372 w 1185143"/>
              <a:gd name="connsiteY71" fmla="*/ 103756 h 207458"/>
              <a:gd name="connsiteX72" fmla="*/ 735372 w 1185143"/>
              <a:gd name="connsiteY72" fmla="*/ 69225 h 207458"/>
              <a:gd name="connsiteX73" fmla="*/ 709433 w 1185143"/>
              <a:gd name="connsiteY73" fmla="*/ 69225 h 207458"/>
              <a:gd name="connsiteX74" fmla="*/ 709433 w 1185143"/>
              <a:gd name="connsiteY74" fmla="*/ 34477 h 207458"/>
              <a:gd name="connsiteX75" fmla="*/ 657555 w 1185143"/>
              <a:gd name="connsiteY75" fmla="*/ 34477 h 207458"/>
              <a:gd name="connsiteX76" fmla="*/ 657555 w 1185143"/>
              <a:gd name="connsiteY76" fmla="*/ 69225 h 207458"/>
              <a:gd name="connsiteX77" fmla="*/ 631561 w 1185143"/>
              <a:gd name="connsiteY77" fmla="*/ 69225 h 207458"/>
              <a:gd name="connsiteX78" fmla="*/ 631561 w 1185143"/>
              <a:gd name="connsiteY78" fmla="*/ 34477 h 207458"/>
              <a:gd name="connsiteX79" fmla="*/ 579737 w 1185143"/>
              <a:gd name="connsiteY79" fmla="*/ 34477 h 207458"/>
              <a:gd name="connsiteX80" fmla="*/ 579737 w 1185143"/>
              <a:gd name="connsiteY80" fmla="*/ 69225 h 207458"/>
              <a:gd name="connsiteX81" fmla="*/ 501650 w 1185143"/>
              <a:gd name="connsiteY81" fmla="*/ 69225 h 207458"/>
              <a:gd name="connsiteX82" fmla="*/ 501650 w 1185143"/>
              <a:gd name="connsiteY82" fmla="*/ 172927 h 207458"/>
              <a:gd name="connsiteX83" fmla="*/ 467173 w 1185143"/>
              <a:gd name="connsiteY83" fmla="*/ 172927 h 207458"/>
              <a:gd name="connsiteX84" fmla="*/ 467173 w 1185143"/>
              <a:gd name="connsiteY84" fmla="*/ 69225 h 207458"/>
              <a:gd name="connsiteX85" fmla="*/ 380547 w 1185143"/>
              <a:gd name="connsiteY85" fmla="*/ 69225 h 207458"/>
              <a:gd name="connsiteX86" fmla="*/ 380547 w 1185143"/>
              <a:gd name="connsiteY86" fmla="*/ 34477 h 207458"/>
              <a:gd name="connsiteX87" fmla="*/ 467173 w 1185143"/>
              <a:gd name="connsiteY87" fmla="*/ 34477 h 207458"/>
              <a:gd name="connsiteX88" fmla="*/ 467173 w 1185143"/>
              <a:gd name="connsiteY88" fmla="*/ 0 h 207458"/>
              <a:gd name="connsiteX89" fmla="*/ 328669 w 1185143"/>
              <a:gd name="connsiteY89" fmla="*/ 0 h 207458"/>
              <a:gd name="connsiteX90" fmla="*/ 899760 w 1185143"/>
              <a:gd name="connsiteY90" fmla="*/ 34477 h 207458"/>
              <a:gd name="connsiteX91" fmla="*/ 951692 w 1185143"/>
              <a:gd name="connsiteY91" fmla="*/ 34477 h 207458"/>
              <a:gd name="connsiteX92" fmla="*/ 951692 w 1185143"/>
              <a:gd name="connsiteY92" fmla="*/ 0 h 207458"/>
              <a:gd name="connsiteX93" fmla="*/ 899760 w 1185143"/>
              <a:gd name="connsiteY93" fmla="*/ 0 h 207458"/>
              <a:gd name="connsiteX94" fmla="*/ 899760 w 1185143"/>
              <a:gd name="connsiteY94" fmla="*/ 34477 h 20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185143" h="207458">
                <a:moveTo>
                  <a:pt x="259606" y="138234"/>
                </a:moveTo>
                <a:lnTo>
                  <a:pt x="311539" y="138234"/>
                </a:lnTo>
                <a:lnTo>
                  <a:pt x="311539" y="103486"/>
                </a:lnTo>
                <a:lnTo>
                  <a:pt x="259606" y="103486"/>
                </a:lnTo>
                <a:lnTo>
                  <a:pt x="259606" y="138234"/>
                </a:lnTo>
                <a:close/>
                <a:moveTo>
                  <a:pt x="787196" y="103756"/>
                </a:moveTo>
                <a:lnTo>
                  <a:pt x="821943" y="103756"/>
                </a:lnTo>
                <a:lnTo>
                  <a:pt x="821943" y="172981"/>
                </a:lnTo>
                <a:lnTo>
                  <a:pt x="787196" y="172981"/>
                </a:lnTo>
                <a:lnTo>
                  <a:pt x="787196" y="103756"/>
                </a:lnTo>
                <a:close/>
                <a:moveTo>
                  <a:pt x="752718" y="69225"/>
                </a:moveTo>
                <a:lnTo>
                  <a:pt x="735318" y="103756"/>
                </a:lnTo>
                <a:lnTo>
                  <a:pt x="735318" y="172981"/>
                </a:lnTo>
                <a:lnTo>
                  <a:pt x="752718" y="207458"/>
                </a:lnTo>
                <a:lnTo>
                  <a:pt x="873821" y="207458"/>
                </a:lnTo>
                <a:lnTo>
                  <a:pt x="873821" y="69225"/>
                </a:lnTo>
                <a:lnTo>
                  <a:pt x="752718" y="69225"/>
                </a:lnTo>
                <a:close/>
                <a:moveTo>
                  <a:pt x="977577" y="69225"/>
                </a:moveTo>
                <a:lnTo>
                  <a:pt x="977577" y="207458"/>
                </a:lnTo>
                <a:lnTo>
                  <a:pt x="1029455" y="207458"/>
                </a:lnTo>
                <a:lnTo>
                  <a:pt x="1029455" y="103756"/>
                </a:lnTo>
                <a:lnTo>
                  <a:pt x="1055394" y="103756"/>
                </a:lnTo>
                <a:lnTo>
                  <a:pt x="1055394" y="207458"/>
                </a:lnTo>
                <a:lnTo>
                  <a:pt x="1107273" y="207458"/>
                </a:lnTo>
                <a:lnTo>
                  <a:pt x="1107273" y="103756"/>
                </a:lnTo>
                <a:lnTo>
                  <a:pt x="1133266" y="103756"/>
                </a:lnTo>
                <a:lnTo>
                  <a:pt x="1133266" y="207458"/>
                </a:lnTo>
                <a:lnTo>
                  <a:pt x="1185144" y="207458"/>
                </a:lnTo>
                <a:lnTo>
                  <a:pt x="1185144" y="103756"/>
                </a:lnTo>
                <a:lnTo>
                  <a:pt x="1168013" y="69225"/>
                </a:lnTo>
                <a:lnTo>
                  <a:pt x="977631" y="69225"/>
                </a:lnTo>
                <a:close/>
                <a:moveTo>
                  <a:pt x="899760" y="207458"/>
                </a:moveTo>
                <a:lnTo>
                  <a:pt x="951692" y="207458"/>
                </a:lnTo>
                <a:lnTo>
                  <a:pt x="951692" y="69225"/>
                </a:lnTo>
                <a:lnTo>
                  <a:pt x="899760" y="69009"/>
                </a:lnTo>
                <a:lnTo>
                  <a:pt x="899760" y="207458"/>
                </a:lnTo>
                <a:close/>
                <a:moveTo>
                  <a:pt x="112565" y="34477"/>
                </a:moveTo>
                <a:lnTo>
                  <a:pt x="112565" y="103756"/>
                </a:lnTo>
                <a:lnTo>
                  <a:pt x="86355" y="103756"/>
                </a:lnTo>
                <a:lnTo>
                  <a:pt x="112565" y="34477"/>
                </a:lnTo>
                <a:close/>
                <a:moveTo>
                  <a:pt x="69225" y="0"/>
                </a:moveTo>
                <a:lnTo>
                  <a:pt x="0" y="207458"/>
                </a:lnTo>
                <a:lnTo>
                  <a:pt x="51878" y="207458"/>
                </a:lnTo>
                <a:lnTo>
                  <a:pt x="77817" y="138450"/>
                </a:lnTo>
                <a:lnTo>
                  <a:pt x="112565" y="138450"/>
                </a:lnTo>
                <a:lnTo>
                  <a:pt x="112565" y="207458"/>
                </a:lnTo>
                <a:lnTo>
                  <a:pt x="164443" y="207458"/>
                </a:lnTo>
                <a:lnTo>
                  <a:pt x="164443" y="0"/>
                </a:lnTo>
                <a:lnTo>
                  <a:pt x="69225" y="0"/>
                </a:lnTo>
                <a:close/>
                <a:moveTo>
                  <a:pt x="190328" y="207458"/>
                </a:moveTo>
                <a:lnTo>
                  <a:pt x="242206" y="207458"/>
                </a:lnTo>
                <a:lnTo>
                  <a:pt x="242206" y="0"/>
                </a:lnTo>
                <a:lnTo>
                  <a:pt x="190328" y="0"/>
                </a:lnTo>
                <a:lnTo>
                  <a:pt x="190328" y="207458"/>
                </a:lnTo>
                <a:close/>
                <a:moveTo>
                  <a:pt x="328615" y="0"/>
                </a:moveTo>
                <a:lnTo>
                  <a:pt x="328615" y="207458"/>
                </a:lnTo>
                <a:lnTo>
                  <a:pt x="380493" y="207458"/>
                </a:lnTo>
                <a:lnTo>
                  <a:pt x="380493" y="103756"/>
                </a:lnTo>
                <a:lnTo>
                  <a:pt x="415295" y="103756"/>
                </a:lnTo>
                <a:lnTo>
                  <a:pt x="415295" y="172981"/>
                </a:lnTo>
                <a:lnTo>
                  <a:pt x="432641" y="207458"/>
                </a:lnTo>
                <a:lnTo>
                  <a:pt x="553798" y="207458"/>
                </a:lnTo>
                <a:lnTo>
                  <a:pt x="553798" y="103756"/>
                </a:lnTo>
                <a:lnTo>
                  <a:pt x="579737" y="103756"/>
                </a:lnTo>
                <a:lnTo>
                  <a:pt x="579737" y="207458"/>
                </a:lnTo>
                <a:lnTo>
                  <a:pt x="631561" y="207458"/>
                </a:lnTo>
                <a:lnTo>
                  <a:pt x="631561" y="103756"/>
                </a:lnTo>
                <a:lnTo>
                  <a:pt x="657555" y="103756"/>
                </a:lnTo>
                <a:lnTo>
                  <a:pt x="657555" y="207458"/>
                </a:lnTo>
                <a:lnTo>
                  <a:pt x="709433" y="207458"/>
                </a:lnTo>
                <a:lnTo>
                  <a:pt x="709433" y="103756"/>
                </a:lnTo>
                <a:lnTo>
                  <a:pt x="735372" y="103756"/>
                </a:lnTo>
                <a:lnTo>
                  <a:pt x="735372" y="69225"/>
                </a:lnTo>
                <a:lnTo>
                  <a:pt x="709433" y="69225"/>
                </a:lnTo>
                <a:lnTo>
                  <a:pt x="709433" y="34477"/>
                </a:lnTo>
                <a:lnTo>
                  <a:pt x="657555" y="34477"/>
                </a:lnTo>
                <a:lnTo>
                  <a:pt x="657555" y="69225"/>
                </a:lnTo>
                <a:lnTo>
                  <a:pt x="631561" y="69225"/>
                </a:lnTo>
                <a:lnTo>
                  <a:pt x="631561" y="34477"/>
                </a:lnTo>
                <a:lnTo>
                  <a:pt x="579737" y="34477"/>
                </a:lnTo>
                <a:lnTo>
                  <a:pt x="579737" y="69225"/>
                </a:lnTo>
                <a:lnTo>
                  <a:pt x="501650" y="69225"/>
                </a:lnTo>
                <a:lnTo>
                  <a:pt x="501650" y="172927"/>
                </a:lnTo>
                <a:lnTo>
                  <a:pt x="467173" y="172927"/>
                </a:lnTo>
                <a:lnTo>
                  <a:pt x="467173" y="69225"/>
                </a:lnTo>
                <a:lnTo>
                  <a:pt x="380547" y="69225"/>
                </a:lnTo>
                <a:lnTo>
                  <a:pt x="380547" y="34477"/>
                </a:lnTo>
                <a:lnTo>
                  <a:pt x="467173" y="34477"/>
                </a:lnTo>
                <a:lnTo>
                  <a:pt x="467173" y="0"/>
                </a:lnTo>
                <a:lnTo>
                  <a:pt x="328669" y="0"/>
                </a:lnTo>
                <a:close/>
                <a:moveTo>
                  <a:pt x="899760" y="34477"/>
                </a:moveTo>
                <a:lnTo>
                  <a:pt x="951692" y="34477"/>
                </a:lnTo>
                <a:lnTo>
                  <a:pt x="951692" y="0"/>
                </a:lnTo>
                <a:lnTo>
                  <a:pt x="899760" y="0"/>
                </a:lnTo>
                <a:lnTo>
                  <a:pt x="899760" y="34477"/>
                </a:lnTo>
                <a:close/>
              </a:path>
            </a:pathLst>
          </a:custGeom>
          <a:solidFill>
            <a:schemeClr val="bg1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3B3ADD2-B7B2-47A7-DF0B-4995540F41E0}"/>
              </a:ext>
            </a:extLst>
          </p:cNvPr>
          <p:cNvSpPr>
            <a:spLocks/>
          </p:cNvSpPr>
          <p:nvPr/>
        </p:nvSpPr>
        <p:spPr bwMode="black">
          <a:xfrm>
            <a:off x="3347197" y="853208"/>
            <a:ext cx="873889" cy="764057"/>
          </a:xfrm>
          <a:custGeom>
            <a:avLst/>
            <a:gdLst>
              <a:gd name="connsiteX0" fmla="*/ 156175 w 415348"/>
              <a:gd name="connsiteY0" fmla="*/ 155526 h 363146"/>
              <a:gd name="connsiteX1" fmla="*/ 207782 w 415348"/>
              <a:gd name="connsiteY1" fmla="*/ 103864 h 363146"/>
              <a:gd name="connsiteX2" fmla="*/ 259390 w 415348"/>
              <a:gd name="connsiteY2" fmla="*/ 155526 h 363146"/>
              <a:gd name="connsiteX3" fmla="*/ 207782 w 415348"/>
              <a:gd name="connsiteY3" fmla="*/ 207296 h 363146"/>
              <a:gd name="connsiteX4" fmla="*/ 156175 w 415348"/>
              <a:gd name="connsiteY4" fmla="*/ 155526 h 363146"/>
              <a:gd name="connsiteX5" fmla="*/ 207782 w 415348"/>
              <a:gd name="connsiteY5" fmla="*/ 0 h 363146"/>
              <a:gd name="connsiteX6" fmla="*/ 0 w 415348"/>
              <a:gd name="connsiteY6" fmla="*/ 207350 h 363146"/>
              <a:gd name="connsiteX7" fmla="*/ 51986 w 415348"/>
              <a:gd name="connsiteY7" fmla="*/ 259228 h 363146"/>
              <a:gd name="connsiteX8" fmla="*/ 104134 w 415348"/>
              <a:gd name="connsiteY8" fmla="*/ 207512 h 363146"/>
              <a:gd name="connsiteX9" fmla="*/ 155904 w 415348"/>
              <a:gd name="connsiteY9" fmla="*/ 259499 h 363146"/>
              <a:gd name="connsiteX10" fmla="*/ 103810 w 415348"/>
              <a:gd name="connsiteY10" fmla="*/ 311593 h 363146"/>
              <a:gd name="connsiteX11" fmla="*/ 155904 w 415348"/>
              <a:gd name="connsiteY11" fmla="*/ 363147 h 363146"/>
              <a:gd name="connsiteX12" fmla="*/ 206810 w 415348"/>
              <a:gd name="connsiteY12" fmla="*/ 311431 h 363146"/>
              <a:gd name="connsiteX13" fmla="*/ 259823 w 415348"/>
              <a:gd name="connsiteY13" fmla="*/ 363147 h 363146"/>
              <a:gd name="connsiteX14" fmla="*/ 311485 w 415348"/>
              <a:gd name="connsiteY14" fmla="*/ 311431 h 363146"/>
              <a:gd name="connsiteX15" fmla="*/ 259823 w 415348"/>
              <a:gd name="connsiteY15" fmla="*/ 259769 h 363146"/>
              <a:gd name="connsiteX16" fmla="*/ 312025 w 415348"/>
              <a:gd name="connsiteY16" fmla="*/ 207512 h 363146"/>
              <a:gd name="connsiteX17" fmla="*/ 363633 w 415348"/>
              <a:gd name="connsiteY17" fmla="*/ 259228 h 363146"/>
              <a:gd name="connsiteX18" fmla="*/ 415349 w 415348"/>
              <a:gd name="connsiteY18" fmla="*/ 207512 h 363146"/>
              <a:gd name="connsiteX19" fmla="*/ 207782 w 415348"/>
              <a:gd name="connsiteY19" fmla="*/ 0 h 36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5348" h="363146">
                <a:moveTo>
                  <a:pt x="156175" y="155526"/>
                </a:moveTo>
                <a:lnTo>
                  <a:pt x="207782" y="103864"/>
                </a:lnTo>
                <a:lnTo>
                  <a:pt x="259390" y="155526"/>
                </a:lnTo>
                <a:lnTo>
                  <a:pt x="207782" y="207296"/>
                </a:lnTo>
                <a:lnTo>
                  <a:pt x="156175" y="155526"/>
                </a:lnTo>
                <a:close/>
                <a:moveTo>
                  <a:pt x="207782" y="0"/>
                </a:moveTo>
                <a:lnTo>
                  <a:pt x="0" y="207350"/>
                </a:lnTo>
                <a:lnTo>
                  <a:pt x="51986" y="259228"/>
                </a:lnTo>
                <a:lnTo>
                  <a:pt x="104134" y="207512"/>
                </a:lnTo>
                <a:lnTo>
                  <a:pt x="155904" y="259499"/>
                </a:lnTo>
                <a:lnTo>
                  <a:pt x="103810" y="311593"/>
                </a:lnTo>
                <a:lnTo>
                  <a:pt x="155904" y="363147"/>
                </a:lnTo>
                <a:lnTo>
                  <a:pt x="206810" y="311431"/>
                </a:lnTo>
                <a:lnTo>
                  <a:pt x="259823" y="363147"/>
                </a:lnTo>
                <a:lnTo>
                  <a:pt x="311485" y="311431"/>
                </a:lnTo>
                <a:lnTo>
                  <a:pt x="259823" y="259769"/>
                </a:lnTo>
                <a:lnTo>
                  <a:pt x="312025" y="207512"/>
                </a:lnTo>
                <a:lnTo>
                  <a:pt x="363633" y="259228"/>
                </a:lnTo>
                <a:lnTo>
                  <a:pt x="415349" y="207512"/>
                </a:lnTo>
                <a:lnTo>
                  <a:pt x="207782" y="0"/>
                </a:lnTo>
                <a:close/>
              </a:path>
            </a:pathLst>
          </a:custGeom>
          <a:solidFill>
            <a:schemeClr val="accent2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5AEDEE7-6139-A3E5-0EEB-3CA889D93948}"/>
              </a:ext>
            </a:extLst>
          </p:cNvPr>
          <p:cNvGrpSpPr/>
          <p:nvPr userDrawn="1"/>
        </p:nvGrpSpPr>
        <p:grpSpPr bwMode="black">
          <a:xfrm>
            <a:off x="4535003" y="1051336"/>
            <a:ext cx="2089689" cy="458152"/>
            <a:chOff x="4668001" y="1061496"/>
            <a:chExt cx="2089689" cy="458152"/>
          </a:xfrm>
          <a:solidFill>
            <a:schemeClr val="bg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60A75C9-C33F-F1B4-B027-9CA6362EC936}"/>
                </a:ext>
              </a:extLst>
            </p:cNvPr>
            <p:cNvSpPr/>
            <p:nvPr/>
          </p:nvSpPr>
          <p:spPr bwMode="black">
            <a:xfrm>
              <a:off x="6666155" y="1061496"/>
              <a:ext cx="91535" cy="366141"/>
            </a:xfrm>
            <a:custGeom>
              <a:avLst/>
              <a:gdLst>
                <a:gd name="connsiteX0" fmla="*/ 0 w 91535"/>
                <a:gd name="connsiteY0" fmla="*/ 0 h 366141"/>
                <a:gd name="connsiteX1" fmla="*/ 91535 w 91535"/>
                <a:gd name="connsiteY1" fmla="*/ 0 h 366141"/>
                <a:gd name="connsiteX2" fmla="*/ 91535 w 91535"/>
                <a:gd name="connsiteY2" fmla="*/ 366141 h 366141"/>
                <a:gd name="connsiteX3" fmla="*/ 0 w 91535"/>
                <a:gd name="connsiteY3" fmla="*/ 366141 h 36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366141">
                  <a:moveTo>
                    <a:pt x="0" y="0"/>
                  </a:moveTo>
                  <a:lnTo>
                    <a:pt x="91535" y="0"/>
                  </a:lnTo>
                  <a:lnTo>
                    <a:pt x="91535" y="366141"/>
                  </a:lnTo>
                  <a:lnTo>
                    <a:pt x="0" y="3661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DDB4EAB-7657-1478-B192-F9D2CB024DAE}"/>
                </a:ext>
              </a:extLst>
            </p:cNvPr>
            <p:cNvSpPr/>
            <p:nvPr/>
          </p:nvSpPr>
          <p:spPr bwMode="black">
            <a:xfrm>
              <a:off x="6178094" y="1092452"/>
              <a:ext cx="91439" cy="60960"/>
            </a:xfrm>
            <a:custGeom>
              <a:avLst/>
              <a:gdLst>
                <a:gd name="connsiteX0" fmla="*/ 0 w 91439"/>
                <a:gd name="connsiteY0" fmla="*/ 0 h 60960"/>
                <a:gd name="connsiteX1" fmla="*/ 91440 w 91439"/>
                <a:gd name="connsiteY1" fmla="*/ 0 h 60960"/>
                <a:gd name="connsiteX2" fmla="*/ 91440 w 91439"/>
                <a:gd name="connsiteY2" fmla="*/ 60960 h 60960"/>
                <a:gd name="connsiteX3" fmla="*/ 0 w 91439"/>
                <a:gd name="connsiteY3" fmla="*/ 6096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39" h="60960">
                  <a:moveTo>
                    <a:pt x="0" y="0"/>
                  </a:moveTo>
                  <a:lnTo>
                    <a:pt x="91440" y="0"/>
                  </a:lnTo>
                  <a:lnTo>
                    <a:pt x="91440" y="60960"/>
                  </a:lnTo>
                  <a:lnTo>
                    <a:pt x="0" y="60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B733183-CCDF-16AA-5012-9CBA5B443389}"/>
                </a:ext>
              </a:extLst>
            </p:cNvPr>
            <p:cNvSpPr/>
            <p:nvPr/>
          </p:nvSpPr>
          <p:spPr bwMode="black">
            <a:xfrm>
              <a:off x="4668001" y="1061496"/>
              <a:ext cx="1952339" cy="458152"/>
            </a:xfrm>
            <a:custGeom>
              <a:avLst/>
              <a:gdLst>
                <a:gd name="connsiteX0" fmla="*/ 274511 w 1952339"/>
                <a:gd name="connsiteY0" fmla="*/ 274987 h 458152"/>
                <a:gd name="connsiteX1" fmla="*/ 335566 w 1952339"/>
                <a:gd name="connsiteY1" fmla="*/ 274987 h 458152"/>
                <a:gd name="connsiteX2" fmla="*/ 335566 w 1952339"/>
                <a:gd name="connsiteY2" fmla="*/ 397097 h 458152"/>
                <a:gd name="connsiteX3" fmla="*/ 274511 w 1952339"/>
                <a:gd name="connsiteY3" fmla="*/ 397097 h 458152"/>
                <a:gd name="connsiteX4" fmla="*/ 274511 w 1952339"/>
                <a:gd name="connsiteY4" fmla="*/ 274987 h 458152"/>
                <a:gd name="connsiteX5" fmla="*/ 1525334 w 1952339"/>
                <a:gd name="connsiteY5" fmla="*/ 183452 h 458152"/>
                <a:gd name="connsiteX6" fmla="*/ 1586293 w 1952339"/>
                <a:gd name="connsiteY6" fmla="*/ 183452 h 458152"/>
                <a:gd name="connsiteX7" fmla="*/ 1586293 w 1952339"/>
                <a:gd name="connsiteY7" fmla="*/ 305467 h 458152"/>
                <a:gd name="connsiteX8" fmla="*/ 1525334 w 1952339"/>
                <a:gd name="connsiteY8" fmla="*/ 305467 h 458152"/>
                <a:gd name="connsiteX9" fmla="*/ 1525334 w 1952339"/>
                <a:gd name="connsiteY9" fmla="*/ 183452 h 458152"/>
                <a:gd name="connsiteX10" fmla="*/ 1860899 w 1952339"/>
                <a:gd name="connsiteY10" fmla="*/ 0 h 458152"/>
                <a:gd name="connsiteX11" fmla="*/ 1860899 w 1952339"/>
                <a:gd name="connsiteY11" fmla="*/ 305086 h 458152"/>
                <a:gd name="connsiteX12" fmla="*/ 1677829 w 1952339"/>
                <a:gd name="connsiteY12" fmla="*/ 305086 h 458152"/>
                <a:gd name="connsiteX13" fmla="*/ 1677829 w 1952339"/>
                <a:gd name="connsiteY13" fmla="*/ 183452 h 458152"/>
                <a:gd name="connsiteX14" fmla="*/ 1647349 w 1952339"/>
                <a:gd name="connsiteY14" fmla="*/ 122396 h 458152"/>
                <a:gd name="connsiteX15" fmla="*/ 1433798 w 1952339"/>
                <a:gd name="connsiteY15" fmla="*/ 122396 h 458152"/>
                <a:gd name="connsiteX16" fmla="*/ 1433798 w 1952339"/>
                <a:gd name="connsiteY16" fmla="*/ 305372 h 458152"/>
                <a:gd name="connsiteX17" fmla="*/ 1250823 w 1952339"/>
                <a:gd name="connsiteY17" fmla="*/ 305372 h 458152"/>
                <a:gd name="connsiteX18" fmla="*/ 1250823 w 1952339"/>
                <a:gd name="connsiteY18" fmla="*/ 183356 h 458152"/>
                <a:gd name="connsiteX19" fmla="*/ 1220343 w 1952339"/>
                <a:gd name="connsiteY19" fmla="*/ 122301 h 458152"/>
                <a:gd name="connsiteX20" fmla="*/ 1006697 w 1952339"/>
                <a:gd name="connsiteY20" fmla="*/ 122301 h 458152"/>
                <a:gd name="connsiteX21" fmla="*/ 1006697 w 1952339"/>
                <a:gd name="connsiteY21" fmla="*/ 191 h 458152"/>
                <a:gd name="connsiteX22" fmla="*/ 915257 w 1952339"/>
                <a:gd name="connsiteY22" fmla="*/ 191 h 458152"/>
                <a:gd name="connsiteX23" fmla="*/ 915257 w 1952339"/>
                <a:gd name="connsiteY23" fmla="*/ 274987 h 458152"/>
                <a:gd name="connsiteX24" fmla="*/ 1006697 w 1952339"/>
                <a:gd name="connsiteY24" fmla="*/ 274987 h 458152"/>
                <a:gd name="connsiteX25" fmla="*/ 1006697 w 1952339"/>
                <a:gd name="connsiteY25" fmla="*/ 183452 h 458152"/>
                <a:gd name="connsiteX26" fmla="*/ 1159383 w 1952339"/>
                <a:gd name="connsiteY26" fmla="*/ 183452 h 458152"/>
                <a:gd name="connsiteX27" fmla="*/ 1159383 w 1952339"/>
                <a:gd name="connsiteY27" fmla="*/ 305467 h 458152"/>
                <a:gd name="connsiteX28" fmla="*/ 732282 w 1952339"/>
                <a:gd name="connsiteY28" fmla="*/ 305467 h 458152"/>
                <a:gd name="connsiteX29" fmla="*/ 732282 w 1952339"/>
                <a:gd name="connsiteY29" fmla="*/ 182975 h 458152"/>
                <a:gd name="connsiteX30" fmla="*/ 640747 w 1952339"/>
                <a:gd name="connsiteY30" fmla="*/ 182975 h 458152"/>
                <a:gd name="connsiteX31" fmla="*/ 640747 w 1952339"/>
                <a:gd name="connsiteY31" fmla="*/ 305467 h 458152"/>
                <a:gd name="connsiteX32" fmla="*/ 427196 w 1952339"/>
                <a:gd name="connsiteY32" fmla="*/ 305467 h 458152"/>
                <a:gd name="connsiteX33" fmla="*/ 427196 w 1952339"/>
                <a:gd name="connsiteY33" fmla="*/ 274987 h 458152"/>
                <a:gd name="connsiteX34" fmla="*/ 396621 w 1952339"/>
                <a:gd name="connsiteY34" fmla="*/ 214027 h 458152"/>
                <a:gd name="connsiteX35" fmla="*/ 183071 w 1952339"/>
                <a:gd name="connsiteY35" fmla="*/ 214027 h 458152"/>
                <a:gd name="connsiteX36" fmla="*/ 183071 w 1952339"/>
                <a:gd name="connsiteY36" fmla="*/ 305562 h 458152"/>
                <a:gd name="connsiteX37" fmla="*/ 0 w 1952339"/>
                <a:gd name="connsiteY37" fmla="*/ 305562 h 458152"/>
                <a:gd name="connsiteX38" fmla="*/ 0 w 1952339"/>
                <a:gd name="connsiteY38" fmla="*/ 366141 h 458152"/>
                <a:gd name="connsiteX39" fmla="*/ 182975 w 1952339"/>
                <a:gd name="connsiteY39" fmla="*/ 366141 h 458152"/>
                <a:gd name="connsiteX40" fmla="*/ 182975 w 1952339"/>
                <a:gd name="connsiteY40" fmla="*/ 397097 h 458152"/>
                <a:gd name="connsiteX41" fmla="*/ 213455 w 1952339"/>
                <a:gd name="connsiteY41" fmla="*/ 458153 h 458152"/>
                <a:gd name="connsiteX42" fmla="*/ 427006 w 1952339"/>
                <a:gd name="connsiteY42" fmla="*/ 458153 h 458152"/>
                <a:gd name="connsiteX43" fmla="*/ 427006 w 1952339"/>
                <a:gd name="connsiteY43" fmla="*/ 366046 h 458152"/>
                <a:gd name="connsiteX44" fmla="*/ 1921859 w 1952339"/>
                <a:gd name="connsiteY44" fmla="*/ 366046 h 458152"/>
                <a:gd name="connsiteX45" fmla="*/ 1952339 w 1952339"/>
                <a:gd name="connsiteY45" fmla="*/ 305181 h 458152"/>
                <a:gd name="connsiteX46" fmla="*/ 1952339 w 1952339"/>
                <a:gd name="connsiteY46" fmla="*/ 0 h 458152"/>
                <a:gd name="connsiteX47" fmla="*/ 1860804 w 1952339"/>
                <a:gd name="connsiteY47" fmla="*/ 0 h 45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952339" h="458152">
                  <a:moveTo>
                    <a:pt x="274511" y="274987"/>
                  </a:moveTo>
                  <a:lnTo>
                    <a:pt x="335566" y="274987"/>
                  </a:lnTo>
                  <a:lnTo>
                    <a:pt x="335566" y="397097"/>
                  </a:lnTo>
                  <a:lnTo>
                    <a:pt x="274511" y="397097"/>
                  </a:lnTo>
                  <a:lnTo>
                    <a:pt x="274511" y="274987"/>
                  </a:lnTo>
                  <a:close/>
                  <a:moveTo>
                    <a:pt x="1525334" y="183452"/>
                  </a:moveTo>
                  <a:lnTo>
                    <a:pt x="1586293" y="183452"/>
                  </a:lnTo>
                  <a:lnTo>
                    <a:pt x="1586293" y="305467"/>
                  </a:lnTo>
                  <a:lnTo>
                    <a:pt x="1525334" y="305467"/>
                  </a:lnTo>
                  <a:lnTo>
                    <a:pt x="1525334" y="183452"/>
                  </a:lnTo>
                  <a:close/>
                  <a:moveTo>
                    <a:pt x="1860899" y="0"/>
                  </a:moveTo>
                  <a:lnTo>
                    <a:pt x="1860899" y="305086"/>
                  </a:lnTo>
                  <a:lnTo>
                    <a:pt x="1677829" y="305086"/>
                  </a:lnTo>
                  <a:lnTo>
                    <a:pt x="1677829" y="183452"/>
                  </a:lnTo>
                  <a:lnTo>
                    <a:pt x="1647349" y="122396"/>
                  </a:lnTo>
                  <a:lnTo>
                    <a:pt x="1433798" y="122396"/>
                  </a:lnTo>
                  <a:lnTo>
                    <a:pt x="1433798" y="305372"/>
                  </a:lnTo>
                  <a:lnTo>
                    <a:pt x="1250823" y="305372"/>
                  </a:lnTo>
                  <a:lnTo>
                    <a:pt x="1250823" y="183356"/>
                  </a:lnTo>
                  <a:lnTo>
                    <a:pt x="1220343" y="122301"/>
                  </a:lnTo>
                  <a:lnTo>
                    <a:pt x="1006697" y="122301"/>
                  </a:lnTo>
                  <a:lnTo>
                    <a:pt x="1006697" y="191"/>
                  </a:lnTo>
                  <a:lnTo>
                    <a:pt x="915257" y="191"/>
                  </a:lnTo>
                  <a:lnTo>
                    <a:pt x="915257" y="274987"/>
                  </a:lnTo>
                  <a:lnTo>
                    <a:pt x="1006697" y="274987"/>
                  </a:lnTo>
                  <a:lnTo>
                    <a:pt x="1006697" y="183452"/>
                  </a:lnTo>
                  <a:lnTo>
                    <a:pt x="1159383" y="183452"/>
                  </a:lnTo>
                  <a:lnTo>
                    <a:pt x="1159383" y="305467"/>
                  </a:lnTo>
                  <a:lnTo>
                    <a:pt x="732282" y="305467"/>
                  </a:lnTo>
                  <a:lnTo>
                    <a:pt x="732282" y="182975"/>
                  </a:lnTo>
                  <a:lnTo>
                    <a:pt x="640747" y="182975"/>
                  </a:lnTo>
                  <a:lnTo>
                    <a:pt x="640747" y="305467"/>
                  </a:lnTo>
                  <a:lnTo>
                    <a:pt x="427196" y="305467"/>
                  </a:lnTo>
                  <a:lnTo>
                    <a:pt x="427196" y="274987"/>
                  </a:lnTo>
                  <a:lnTo>
                    <a:pt x="396621" y="214027"/>
                  </a:lnTo>
                  <a:lnTo>
                    <a:pt x="183071" y="214027"/>
                  </a:lnTo>
                  <a:lnTo>
                    <a:pt x="183071" y="305562"/>
                  </a:lnTo>
                  <a:lnTo>
                    <a:pt x="0" y="305562"/>
                  </a:lnTo>
                  <a:lnTo>
                    <a:pt x="0" y="366141"/>
                  </a:lnTo>
                  <a:lnTo>
                    <a:pt x="182975" y="366141"/>
                  </a:lnTo>
                  <a:cubicBezTo>
                    <a:pt x="182975" y="366141"/>
                    <a:pt x="182975" y="397097"/>
                    <a:pt x="182975" y="397097"/>
                  </a:cubicBezTo>
                  <a:lnTo>
                    <a:pt x="213455" y="458153"/>
                  </a:lnTo>
                  <a:lnTo>
                    <a:pt x="427006" y="458153"/>
                  </a:lnTo>
                  <a:lnTo>
                    <a:pt x="427006" y="366046"/>
                  </a:lnTo>
                  <a:lnTo>
                    <a:pt x="1921859" y="366046"/>
                  </a:lnTo>
                  <a:cubicBezTo>
                    <a:pt x="1921859" y="366046"/>
                    <a:pt x="1952339" y="305181"/>
                    <a:pt x="1952339" y="305181"/>
                  </a:cubicBezTo>
                  <a:lnTo>
                    <a:pt x="1952339" y="0"/>
                  </a:lnTo>
                  <a:lnTo>
                    <a:pt x="186080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472D19-4BEE-DDF9-4802-3B0FF5FD9444}"/>
                </a:ext>
              </a:extLst>
            </p:cNvPr>
            <p:cNvSpPr/>
            <p:nvPr/>
          </p:nvSpPr>
          <p:spPr bwMode="black">
            <a:xfrm>
              <a:off x="5369612" y="1458593"/>
              <a:ext cx="91535" cy="61055"/>
            </a:xfrm>
            <a:custGeom>
              <a:avLst/>
              <a:gdLst>
                <a:gd name="connsiteX0" fmla="*/ 0 w 91535"/>
                <a:gd name="connsiteY0" fmla="*/ 0 h 61055"/>
                <a:gd name="connsiteX1" fmla="*/ 91535 w 91535"/>
                <a:gd name="connsiteY1" fmla="*/ 0 h 61055"/>
                <a:gd name="connsiteX2" fmla="*/ 91535 w 91535"/>
                <a:gd name="connsiteY2" fmla="*/ 61055 h 61055"/>
                <a:gd name="connsiteX3" fmla="*/ 0 w 91535"/>
                <a:gd name="connsiteY3" fmla="*/ 61055 h 6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61055">
                  <a:moveTo>
                    <a:pt x="0" y="0"/>
                  </a:moveTo>
                  <a:lnTo>
                    <a:pt x="91535" y="0"/>
                  </a:lnTo>
                  <a:lnTo>
                    <a:pt x="91535" y="61055"/>
                  </a:lnTo>
                  <a:lnTo>
                    <a:pt x="0" y="61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269D0F9-38E6-22C6-2DF3-4B96E6B7BBA6}"/>
                </a:ext>
              </a:extLst>
            </p:cNvPr>
            <p:cNvSpPr/>
            <p:nvPr/>
          </p:nvSpPr>
          <p:spPr bwMode="black">
            <a:xfrm>
              <a:off x="5247597" y="1458593"/>
              <a:ext cx="91535" cy="61055"/>
            </a:xfrm>
            <a:custGeom>
              <a:avLst/>
              <a:gdLst>
                <a:gd name="connsiteX0" fmla="*/ 0 w 91535"/>
                <a:gd name="connsiteY0" fmla="*/ 0 h 61055"/>
                <a:gd name="connsiteX1" fmla="*/ 91535 w 91535"/>
                <a:gd name="connsiteY1" fmla="*/ 0 h 61055"/>
                <a:gd name="connsiteX2" fmla="*/ 91535 w 91535"/>
                <a:gd name="connsiteY2" fmla="*/ 61055 h 61055"/>
                <a:gd name="connsiteX3" fmla="*/ 0 w 91535"/>
                <a:gd name="connsiteY3" fmla="*/ 61055 h 6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61055">
                  <a:moveTo>
                    <a:pt x="0" y="0"/>
                  </a:moveTo>
                  <a:lnTo>
                    <a:pt x="91535" y="0"/>
                  </a:lnTo>
                  <a:lnTo>
                    <a:pt x="91535" y="61055"/>
                  </a:lnTo>
                  <a:lnTo>
                    <a:pt x="0" y="61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10497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500" userDrawn="1">
          <p15:clr>
            <a:srgbClr val="FBAE40"/>
          </p15:clr>
        </p15:guide>
        <p15:guide id="4" orient="horz" pos="2329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6"/>
          <p:cNvSpPr>
            <a:spLocks noGrp="1"/>
          </p:cNvSpPr>
          <p:nvPr>
            <p:ph type="title"/>
          </p:nvPr>
        </p:nvSpPr>
        <p:spPr>
          <a:xfrm>
            <a:off x="623272" y="20506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5297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bilingual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1875367"/>
            <a:ext cx="11112502" cy="1821921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3970338"/>
            <a:ext cx="11112502" cy="942022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3B3ADD2-B7B2-47A7-DF0B-4995540F41E0}"/>
              </a:ext>
            </a:extLst>
          </p:cNvPr>
          <p:cNvSpPr>
            <a:spLocks/>
          </p:cNvSpPr>
          <p:nvPr/>
        </p:nvSpPr>
        <p:spPr>
          <a:xfrm>
            <a:off x="3347197" y="853208"/>
            <a:ext cx="873889" cy="764057"/>
          </a:xfrm>
          <a:custGeom>
            <a:avLst/>
            <a:gdLst>
              <a:gd name="connsiteX0" fmla="*/ 156175 w 415348"/>
              <a:gd name="connsiteY0" fmla="*/ 155526 h 363146"/>
              <a:gd name="connsiteX1" fmla="*/ 207782 w 415348"/>
              <a:gd name="connsiteY1" fmla="*/ 103864 h 363146"/>
              <a:gd name="connsiteX2" fmla="*/ 259390 w 415348"/>
              <a:gd name="connsiteY2" fmla="*/ 155526 h 363146"/>
              <a:gd name="connsiteX3" fmla="*/ 207782 w 415348"/>
              <a:gd name="connsiteY3" fmla="*/ 207296 h 363146"/>
              <a:gd name="connsiteX4" fmla="*/ 156175 w 415348"/>
              <a:gd name="connsiteY4" fmla="*/ 155526 h 363146"/>
              <a:gd name="connsiteX5" fmla="*/ 207782 w 415348"/>
              <a:gd name="connsiteY5" fmla="*/ 0 h 363146"/>
              <a:gd name="connsiteX6" fmla="*/ 0 w 415348"/>
              <a:gd name="connsiteY6" fmla="*/ 207350 h 363146"/>
              <a:gd name="connsiteX7" fmla="*/ 51986 w 415348"/>
              <a:gd name="connsiteY7" fmla="*/ 259228 h 363146"/>
              <a:gd name="connsiteX8" fmla="*/ 104134 w 415348"/>
              <a:gd name="connsiteY8" fmla="*/ 207512 h 363146"/>
              <a:gd name="connsiteX9" fmla="*/ 155904 w 415348"/>
              <a:gd name="connsiteY9" fmla="*/ 259499 h 363146"/>
              <a:gd name="connsiteX10" fmla="*/ 103810 w 415348"/>
              <a:gd name="connsiteY10" fmla="*/ 311593 h 363146"/>
              <a:gd name="connsiteX11" fmla="*/ 155904 w 415348"/>
              <a:gd name="connsiteY11" fmla="*/ 363147 h 363146"/>
              <a:gd name="connsiteX12" fmla="*/ 206810 w 415348"/>
              <a:gd name="connsiteY12" fmla="*/ 311431 h 363146"/>
              <a:gd name="connsiteX13" fmla="*/ 259823 w 415348"/>
              <a:gd name="connsiteY13" fmla="*/ 363147 h 363146"/>
              <a:gd name="connsiteX14" fmla="*/ 311485 w 415348"/>
              <a:gd name="connsiteY14" fmla="*/ 311431 h 363146"/>
              <a:gd name="connsiteX15" fmla="*/ 259823 w 415348"/>
              <a:gd name="connsiteY15" fmla="*/ 259769 h 363146"/>
              <a:gd name="connsiteX16" fmla="*/ 312025 w 415348"/>
              <a:gd name="connsiteY16" fmla="*/ 207512 h 363146"/>
              <a:gd name="connsiteX17" fmla="*/ 363633 w 415348"/>
              <a:gd name="connsiteY17" fmla="*/ 259228 h 363146"/>
              <a:gd name="connsiteX18" fmla="*/ 415349 w 415348"/>
              <a:gd name="connsiteY18" fmla="*/ 207512 h 363146"/>
              <a:gd name="connsiteX19" fmla="*/ 207782 w 415348"/>
              <a:gd name="connsiteY19" fmla="*/ 0 h 36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5348" h="363146">
                <a:moveTo>
                  <a:pt x="156175" y="155526"/>
                </a:moveTo>
                <a:lnTo>
                  <a:pt x="207782" y="103864"/>
                </a:lnTo>
                <a:lnTo>
                  <a:pt x="259390" y="155526"/>
                </a:lnTo>
                <a:lnTo>
                  <a:pt x="207782" y="207296"/>
                </a:lnTo>
                <a:lnTo>
                  <a:pt x="156175" y="155526"/>
                </a:lnTo>
                <a:close/>
                <a:moveTo>
                  <a:pt x="207782" y="0"/>
                </a:moveTo>
                <a:lnTo>
                  <a:pt x="0" y="207350"/>
                </a:lnTo>
                <a:lnTo>
                  <a:pt x="51986" y="259228"/>
                </a:lnTo>
                <a:lnTo>
                  <a:pt x="104134" y="207512"/>
                </a:lnTo>
                <a:lnTo>
                  <a:pt x="155904" y="259499"/>
                </a:lnTo>
                <a:lnTo>
                  <a:pt x="103810" y="311593"/>
                </a:lnTo>
                <a:lnTo>
                  <a:pt x="155904" y="363147"/>
                </a:lnTo>
                <a:lnTo>
                  <a:pt x="206810" y="311431"/>
                </a:lnTo>
                <a:lnTo>
                  <a:pt x="259823" y="363147"/>
                </a:lnTo>
                <a:lnTo>
                  <a:pt x="311485" y="311431"/>
                </a:lnTo>
                <a:lnTo>
                  <a:pt x="259823" y="259769"/>
                </a:lnTo>
                <a:lnTo>
                  <a:pt x="312025" y="207512"/>
                </a:lnTo>
                <a:lnTo>
                  <a:pt x="363633" y="259228"/>
                </a:lnTo>
                <a:lnTo>
                  <a:pt x="415349" y="207512"/>
                </a:lnTo>
                <a:lnTo>
                  <a:pt x="207782" y="0"/>
                </a:lnTo>
                <a:close/>
              </a:path>
            </a:pathLst>
          </a:custGeom>
          <a:solidFill>
            <a:schemeClr val="accent2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5AEDEE7-6139-A3E5-0EEB-3CA889D93948}"/>
              </a:ext>
            </a:extLst>
          </p:cNvPr>
          <p:cNvGrpSpPr/>
          <p:nvPr userDrawn="1"/>
        </p:nvGrpSpPr>
        <p:grpSpPr>
          <a:xfrm>
            <a:off x="4535003" y="1051336"/>
            <a:ext cx="2089689" cy="458152"/>
            <a:chOff x="4668001" y="1061496"/>
            <a:chExt cx="2089689" cy="458152"/>
          </a:xfrm>
          <a:solidFill>
            <a:srgbClr val="004F9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60A75C9-C33F-F1B4-B027-9CA6362EC936}"/>
                </a:ext>
              </a:extLst>
            </p:cNvPr>
            <p:cNvSpPr/>
            <p:nvPr/>
          </p:nvSpPr>
          <p:spPr>
            <a:xfrm>
              <a:off x="6666155" y="1061496"/>
              <a:ext cx="91535" cy="366141"/>
            </a:xfrm>
            <a:custGeom>
              <a:avLst/>
              <a:gdLst>
                <a:gd name="connsiteX0" fmla="*/ 0 w 91535"/>
                <a:gd name="connsiteY0" fmla="*/ 0 h 366141"/>
                <a:gd name="connsiteX1" fmla="*/ 91535 w 91535"/>
                <a:gd name="connsiteY1" fmla="*/ 0 h 366141"/>
                <a:gd name="connsiteX2" fmla="*/ 91535 w 91535"/>
                <a:gd name="connsiteY2" fmla="*/ 366141 h 366141"/>
                <a:gd name="connsiteX3" fmla="*/ 0 w 91535"/>
                <a:gd name="connsiteY3" fmla="*/ 366141 h 36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366141">
                  <a:moveTo>
                    <a:pt x="0" y="0"/>
                  </a:moveTo>
                  <a:lnTo>
                    <a:pt x="91535" y="0"/>
                  </a:lnTo>
                  <a:lnTo>
                    <a:pt x="91535" y="366141"/>
                  </a:lnTo>
                  <a:lnTo>
                    <a:pt x="0" y="3661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DDB4EAB-7657-1478-B192-F9D2CB024DAE}"/>
                </a:ext>
              </a:extLst>
            </p:cNvPr>
            <p:cNvSpPr/>
            <p:nvPr/>
          </p:nvSpPr>
          <p:spPr>
            <a:xfrm>
              <a:off x="6178094" y="1092452"/>
              <a:ext cx="91439" cy="60960"/>
            </a:xfrm>
            <a:custGeom>
              <a:avLst/>
              <a:gdLst>
                <a:gd name="connsiteX0" fmla="*/ 0 w 91439"/>
                <a:gd name="connsiteY0" fmla="*/ 0 h 60960"/>
                <a:gd name="connsiteX1" fmla="*/ 91440 w 91439"/>
                <a:gd name="connsiteY1" fmla="*/ 0 h 60960"/>
                <a:gd name="connsiteX2" fmla="*/ 91440 w 91439"/>
                <a:gd name="connsiteY2" fmla="*/ 60960 h 60960"/>
                <a:gd name="connsiteX3" fmla="*/ 0 w 91439"/>
                <a:gd name="connsiteY3" fmla="*/ 6096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39" h="60960">
                  <a:moveTo>
                    <a:pt x="0" y="0"/>
                  </a:moveTo>
                  <a:lnTo>
                    <a:pt x="91440" y="0"/>
                  </a:lnTo>
                  <a:lnTo>
                    <a:pt x="91440" y="60960"/>
                  </a:lnTo>
                  <a:lnTo>
                    <a:pt x="0" y="60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B733183-CCDF-16AA-5012-9CBA5B443389}"/>
                </a:ext>
              </a:extLst>
            </p:cNvPr>
            <p:cNvSpPr/>
            <p:nvPr/>
          </p:nvSpPr>
          <p:spPr>
            <a:xfrm>
              <a:off x="4668001" y="1061496"/>
              <a:ext cx="1952339" cy="458152"/>
            </a:xfrm>
            <a:custGeom>
              <a:avLst/>
              <a:gdLst>
                <a:gd name="connsiteX0" fmla="*/ 274511 w 1952339"/>
                <a:gd name="connsiteY0" fmla="*/ 274987 h 458152"/>
                <a:gd name="connsiteX1" fmla="*/ 335566 w 1952339"/>
                <a:gd name="connsiteY1" fmla="*/ 274987 h 458152"/>
                <a:gd name="connsiteX2" fmla="*/ 335566 w 1952339"/>
                <a:gd name="connsiteY2" fmla="*/ 397097 h 458152"/>
                <a:gd name="connsiteX3" fmla="*/ 274511 w 1952339"/>
                <a:gd name="connsiteY3" fmla="*/ 397097 h 458152"/>
                <a:gd name="connsiteX4" fmla="*/ 274511 w 1952339"/>
                <a:gd name="connsiteY4" fmla="*/ 274987 h 458152"/>
                <a:gd name="connsiteX5" fmla="*/ 1525334 w 1952339"/>
                <a:gd name="connsiteY5" fmla="*/ 183452 h 458152"/>
                <a:gd name="connsiteX6" fmla="*/ 1586293 w 1952339"/>
                <a:gd name="connsiteY6" fmla="*/ 183452 h 458152"/>
                <a:gd name="connsiteX7" fmla="*/ 1586293 w 1952339"/>
                <a:gd name="connsiteY7" fmla="*/ 305467 h 458152"/>
                <a:gd name="connsiteX8" fmla="*/ 1525334 w 1952339"/>
                <a:gd name="connsiteY8" fmla="*/ 305467 h 458152"/>
                <a:gd name="connsiteX9" fmla="*/ 1525334 w 1952339"/>
                <a:gd name="connsiteY9" fmla="*/ 183452 h 458152"/>
                <a:gd name="connsiteX10" fmla="*/ 1860899 w 1952339"/>
                <a:gd name="connsiteY10" fmla="*/ 0 h 458152"/>
                <a:gd name="connsiteX11" fmla="*/ 1860899 w 1952339"/>
                <a:gd name="connsiteY11" fmla="*/ 305086 h 458152"/>
                <a:gd name="connsiteX12" fmla="*/ 1677829 w 1952339"/>
                <a:gd name="connsiteY12" fmla="*/ 305086 h 458152"/>
                <a:gd name="connsiteX13" fmla="*/ 1677829 w 1952339"/>
                <a:gd name="connsiteY13" fmla="*/ 183452 h 458152"/>
                <a:gd name="connsiteX14" fmla="*/ 1647349 w 1952339"/>
                <a:gd name="connsiteY14" fmla="*/ 122396 h 458152"/>
                <a:gd name="connsiteX15" fmla="*/ 1433798 w 1952339"/>
                <a:gd name="connsiteY15" fmla="*/ 122396 h 458152"/>
                <a:gd name="connsiteX16" fmla="*/ 1433798 w 1952339"/>
                <a:gd name="connsiteY16" fmla="*/ 305372 h 458152"/>
                <a:gd name="connsiteX17" fmla="*/ 1250823 w 1952339"/>
                <a:gd name="connsiteY17" fmla="*/ 305372 h 458152"/>
                <a:gd name="connsiteX18" fmla="*/ 1250823 w 1952339"/>
                <a:gd name="connsiteY18" fmla="*/ 183356 h 458152"/>
                <a:gd name="connsiteX19" fmla="*/ 1220343 w 1952339"/>
                <a:gd name="connsiteY19" fmla="*/ 122301 h 458152"/>
                <a:gd name="connsiteX20" fmla="*/ 1006697 w 1952339"/>
                <a:gd name="connsiteY20" fmla="*/ 122301 h 458152"/>
                <a:gd name="connsiteX21" fmla="*/ 1006697 w 1952339"/>
                <a:gd name="connsiteY21" fmla="*/ 191 h 458152"/>
                <a:gd name="connsiteX22" fmla="*/ 915257 w 1952339"/>
                <a:gd name="connsiteY22" fmla="*/ 191 h 458152"/>
                <a:gd name="connsiteX23" fmla="*/ 915257 w 1952339"/>
                <a:gd name="connsiteY23" fmla="*/ 274987 h 458152"/>
                <a:gd name="connsiteX24" fmla="*/ 1006697 w 1952339"/>
                <a:gd name="connsiteY24" fmla="*/ 274987 h 458152"/>
                <a:gd name="connsiteX25" fmla="*/ 1006697 w 1952339"/>
                <a:gd name="connsiteY25" fmla="*/ 183452 h 458152"/>
                <a:gd name="connsiteX26" fmla="*/ 1159383 w 1952339"/>
                <a:gd name="connsiteY26" fmla="*/ 183452 h 458152"/>
                <a:gd name="connsiteX27" fmla="*/ 1159383 w 1952339"/>
                <a:gd name="connsiteY27" fmla="*/ 305467 h 458152"/>
                <a:gd name="connsiteX28" fmla="*/ 732282 w 1952339"/>
                <a:gd name="connsiteY28" fmla="*/ 305467 h 458152"/>
                <a:gd name="connsiteX29" fmla="*/ 732282 w 1952339"/>
                <a:gd name="connsiteY29" fmla="*/ 182975 h 458152"/>
                <a:gd name="connsiteX30" fmla="*/ 640747 w 1952339"/>
                <a:gd name="connsiteY30" fmla="*/ 182975 h 458152"/>
                <a:gd name="connsiteX31" fmla="*/ 640747 w 1952339"/>
                <a:gd name="connsiteY31" fmla="*/ 305467 h 458152"/>
                <a:gd name="connsiteX32" fmla="*/ 427196 w 1952339"/>
                <a:gd name="connsiteY32" fmla="*/ 305467 h 458152"/>
                <a:gd name="connsiteX33" fmla="*/ 427196 w 1952339"/>
                <a:gd name="connsiteY33" fmla="*/ 274987 h 458152"/>
                <a:gd name="connsiteX34" fmla="*/ 396621 w 1952339"/>
                <a:gd name="connsiteY34" fmla="*/ 214027 h 458152"/>
                <a:gd name="connsiteX35" fmla="*/ 183071 w 1952339"/>
                <a:gd name="connsiteY35" fmla="*/ 214027 h 458152"/>
                <a:gd name="connsiteX36" fmla="*/ 183071 w 1952339"/>
                <a:gd name="connsiteY36" fmla="*/ 305562 h 458152"/>
                <a:gd name="connsiteX37" fmla="*/ 0 w 1952339"/>
                <a:gd name="connsiteY37" fmla="*/ 305562 h 458152"/>
                <a:gd name="connsiteX38" fmla="*/ 0 w 1952339"/>
                <a:gd name="connsiteY38" fmla="*/ 366141 h 458152"/>
                <a:gd name="connsiteX39" fmla="*/ 182975 w 1952339"/>
                <a:gd name="connsiteY39" fmla="*/ 366141 h 458152"/>
                <a:gd name="connsiteX40" fmla="*/ 182975 w 1952339"/>
                <a:gd name="connsiteY40" fmla="*/ 397097 h 458152"/>
                <a:gd name="connsiteX41" fmla="*/ 213455 w 1952339"/>
                <a:gd name="connsiteY41" fmla="*/ 458153 h 458152"/>
                <a:gd name="connsiteX42" fmla="*/ 427006 w 1952339"/>
                <a:gd name="connsiteY42" fmla="*/ 458153 h 458152"/>
                <a:gd name="connsiteX43" fmla="*/ 427006 w 1952339"/>
                <a:gd name="connsiteY43" fmla="*/ 366046 h 458152"/>
                <a:gd name="connsiteX44" fmla="*/ 1921859 w 1952339"/>
                <a:gd name="connsiteY44" fmla="*/ 366046 h 458152"/>
                <a:gd name="connsiteX45" fmla="*/ 1952339 w 1952339"/>
                <a:gd name="connsiteY45" fmla="*/ 305181 h 458152"/>
                <a:gd name="connsiteX46" fmla="*/ 1952339 w 1952339"/>
                <a:gd name="connsiteY46" fmla="*/ 0 h 458152"/>
                <a:gd name="connsiteX47" fmla="*/ 1860804 w 1952339"/>
                <a:gd name="connsiteY47" fmla="*/ 0 h 45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952339" h="458152">
                  <a:moveTo>
                    <a:pt x="274511" y="274987"/>
                  </a:moveTo>
                  <a:lnTo>
                    <a:pt x="335566" y="274987"/>
                  </a:lnTo>
                  <a:lnTo>
                    <a:pt x="335566" y="397097"/>
                  </a:lnTo>
                  <a:lnTo>
                    <a:pt x="274511" y="397097"/>
                  </a:lnTo>
                  <a:lnTo>
                    <a:pt x="274511" y="274987"/>
                  </a:lnTo>
                  <a:close/>
                  <a:moveTo>
                    <a:pt x="1525334" y="183452"/>
                  </a:moveTo>
                  <a:lnTo>
                    <a:pt x="1586293" y="183452"/>
                  </a:lnTo>
                  <a:lnTo>
                    <a:pt x="1586293" y="305467"/>
                  </a:lnTo>
                  <a:lnTo>
                    <a:pt x="1525334" y="305467"/>
                  </a:lnTo>
                  <a:lnTo>
                    <a:pt x="1525334" y="183452"/>
                  </a:lnTo>
                  <a:close/>
                  <a:moveTo>
                    <a:pt x="1860899" y="0"/>
                  </a:moveTo>
                  <a:lnTo>
                    <a:pt x="1860899" y="305086"/>
                  </a:lnTo>
                  <a:lnTo>
                    <a:pt x="1677829" y="305086"/>
                  </a:lnTo>
                  <a:lnTo>
                    <a:pt x="1677829" y="183452"/>
                  </a:lnTo>
                  <a:lnTo>
                    <a:pt x="1647349" y="122396"/>
                  </a:lnTo>
                  <a:lnTo>
                    <a:pt x="1433798" y="122396"/>
                  </a:lnTo>
                  <a:lnTo>
                    <a:pt x="1433798" y="305372"/>
                  </a:lnTo>
                  <a:lnTo>
                    <a:pt x="1250823" y="305372"/>
                  </a:lnTo>
                  <a:lnTo>
                    <a:pt x="1250823" y="183356"/>
                  </a:lnTo>
                  <a:lnTo>
                    <a:pt x="1220343" y="122301"/>
                  </a:lnTo>
                  <a:lnTo>
                    <a:pt x="1006697" y="122301"/>
                  </a:lnTo>
                  <a:lnTo>
                    <a:pt x="1006697" y="191"/>
                  </a:lnTo>
                  <a:lnTo>
                    <a:pt x="915257" y="191"/>
                  </a:lnTo>
                  <a:lnTo>
                    <a:pt x="915257" y="274987"/>
                  </a:lnTo>
                  <a:lnTo>
                    <a:pt x="1006697" y="274987"/>
                  </a:lnTo>
                  <a:lnTo>
                    <a:pt x="1006697" y="183452"/>
                  </a:lnTo>
                  <a:lnTo>
                    <a:pt x="1159383" y="183452"/>
                  </a:lnTo>
                  <a:lnTo>
                    <a:pt x="1159383" y="305467"/>
                  </a:lnTo>
                  <a:lnTo>
                    <a:pt x="732282" y="305467"/>
                  </a:lnTo>
                  <a:lnTo>
                    <a:pt x="732282" y="182975"/>
                  </a:lnTo>
                  <a:lnTo>
                    <a:pt x="640747" y="182975"/>
                  </a:lnTo>
                  <a:lnTo>
                    <a:pt x="640747" y="305467"/>
                  </a:lnTo>
                  <a:lnTo>
                    <a:pt x="427196" y="305467"/>
                  </a:lnTo>
                  <a:lnTo>
                    <a:pt x="427196" y="274987"/>
                  </a:lnTo>
                  <a:lnTo>
                    <a:pt x="396621" y="214027"/>
                  </a:lnTo>
                  <a:lnTo>
                    <a:pt x="183071" y="214027"/>
                  </a:lnTo>
                  <a:lnTo>
                    <a:pt x="183071" y="305562"/>
                  </a:lnTo>
                  <a:lnTo>
                    <a:pt x="0" y="305562"/>
                  </a:lnTo>
                  <a:lnTo>
                    <a:pt x="0" y="366141"/>
                  </a:lnTo>
                  <a:lnTo>
                    <a:pt x="182975" y="366141"/>
                  </a:lnTo>
                  <a:cubicBezTo>
                    <a:pt x="182975" y="366141"/>
                    <a:pt x="182975" y="397097"/>
                    <a:pt x="182975" y="397097"/>
                  </a:cubicBezTo>
                  <a:lnTo>
                    <a:pt x="213455" y="458153"/>
                  </a:lnTo>
                  <a:lnTo>
                    <a:pt x="427006" y="458153"/>
                  </a:lnTo>
                  <a:lnTo>
                    <a:pt x="427006" y="366046"/>
                  </a:lnTo>
                  <a:lnTo>
                    <a:pt x="1921859" y="366046"/>
                  </a:lnTo>
                  <a:cubicBezTo>
                    <a:pt x="1921859" y="366046"/>
                    <a:pt x="1952339" y="305181"/>
                    <a:pt x="1952339" y="305181"/>
                  </a:cubicBezTo>
                  <a:lnTo>
                    <a:pt x="1952339" y="0"/>
                  </a:lnTo>
                  <a:lnTo>
                    <a:pt x="186080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472D19-4BEE-DDF9-4802-3B0FF5FD9444}"/>
                </a:ext>
              </a:extLst>
            </p:cNvPr>
            <p:cNvSpPr/>
            <p:nvPr/>
          </p:nvSpPr>
          <p:spPr>
            <a:xfrm>
              <a:off x="5369612" y="1458593"/>
              <a:ext cx="91535" cy="61055"/>
            </a:xfrm>
            <a:custGeom>
              <a:avLst/>
              <a:gdLst>
                <a:gd name="connsiteX0" fmla="*/ 0 w 91535"/>
                <a:gd name="connsiteY0" fmla="*/ 0 h 61055"/>
                <a:gd name="connsiteX1" fmla="*/ 91535 w 91535"/>
                <a:gd name="connsiteY1" fmla="*/ 0 h 61055"/>
                <a:gd name="connsiteX2" fmla="*/ 91535 w 91535"/>
                <a:gd name="connsiteY2" fmla="*/ 61055 h 61055"/>
                <a:gd name="connsiteX3" fmla="*/ 0 w 91535"/>
                <a:gd name="connsiteY3" fmla="*/ 61055 h 6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61055">
                  <a:moveTo>
                    <a:pt x="0" y="0"/>
                  </a:moveTo>
                  <a:lnTo>
                    <a:pt x="91535" y="0"/>
                  </a:lnTo>
                  <a:lnTo>
                    <a:pt x="91535" y="61055"/>
                  </a:lnTo>
                  <a:lnTo>
                    <a:pt x="0" y="61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269D0F9-38E6-22C6-2DF3-4B96E6B7BBA6}"/>
                </a:ext>
              </a:extLst>
            </p:cNvPr>
            <p:cNvSpPr/>
            <p:nvPr/>
          </p:nvSpPr>
          <p:spPr>
            <a:xfrm>
              <a:off x="5247597" y="1458593"/>
              <a:ext cx="91535" cy="61055"/>
            </a:xfrm>
            <a:custGeom>
              <a:avLst/>
              <a:gdLst>
                <a:gd name="connsiteX0" fmla="*/ 0 w 91535"/>
                <a:gd name="connsiteY0" fmla="*/ 0 h 61055"/>
                <a:gd name="connsiteX1" fmla="*/ 91535 w 91535"/>
                <a:gd name="connsiteY1" fmla="*/ 0 h 61055"/>
                <a:gd name="connsiteX2" fmla="*/ 91535 w 91535"/>
                <a:gd name="connsiteY2" fmla="*/ 61055 h 61055"/>
                <a:gd name="connsiteX3" fmla="*/ 0 w 91535"/>
                <a:gd name="connsiteY3" fmla="*/ 61055 h 6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61055">
                  <a:moveTo>
                    <a:pt x="0" y="0"/>
                  </a:moveTo>
                  <a:lnTo>
                    <a:pt x="91535" y="0"/>
                  </a:lnTo>
                  <a:lnTo>
                    <a:pt x="91535" y="61055"/>
                  </a:lnTo>
                  <a:lnTo>
                    <a:pt x="0" y="61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6995BA0-03DD-649F-88BF-F31C62BBE676}"/>
              </a:ext>
            </a:extLst>
          </p:cNvPr>
          <p:cNvSpPr>
            <a:spLocks/>
          </p:cNvSpPr>
          <p:nvPr userDrawn="1"/>
        </p:nvSpPr>
        <p:spPr>
          <a:xfrm>
            <a:off x="539748" y="1071851"/>
            <a:ext cx="2493533" cy="436490"/>
          </a:xfrm>
          <a:custGeom>
            <a:avLst/>
            <a:gdLst>
              <a:gd name="connsiteX0" fmla="*/ 259606 w 1185143"/>
              <a:gd name="connsiteY0" fmla="*/ 138234 h 207458"/>
              <a:gd name="connsiteX1" fmla="*/ 311539 w 1185143"/>
              <a:gd name="connsiteY1" fmla="*/ 138234 h 207458"/>
              <a:gd name="connsiteX2" fmla="*/ 311539 w 1185143"/>
              <a:gd name="connsiteY2" fmla="*/ 103486 h 207458"/>
              <a:gd name="connsiteX3" fmla="*/ 259606 w 1185143"/>
              <a:gd name="connsiteY3" fmla="*/ 103486 h 207458"/>
              <a:gd name="connsiteX4" fmla="*/ 259606 w 1185143"/>
              <a:gd name="connsiteY4" fmla="*/ 138234 h 207458"/>
              <a:gd name="connsiteX5" fmla="*/ 787196 w 1185143"/>
              <a:gd name="connsiteY5" fmla="*/ 103756 h 207458"/>
              <a:gd name="connsiteX6" fmla="*/ 821943 w 1185143"/>
              <a:gd name="connsiteY6" fmla="*/ 103756 h 207458"/>
              <a:gd name="connsiteX7" fmla="*/ 821943 w 1185143"/>
              <a:gd name="connsiteY7" fmla="*/ 172981 h 207458"/>
              <a:gd name="connsiteX8" fmla="*/ 787196 w 1185143"/>
              <a:gd name="connsiteY8" fmla="*/ 172981 h 207458"/>
              <a:gd name="connsiteX9" fmla="*/ 787196 w 1185143"/>
              <a:gd name="connsiteY9" fmla="*/ 103756 h 207458"/>
              <a:gd name="connsiteX10" fmla="*/ 752718 w 1185143"/>
              <a:gd name="connsiteY10" fmla="*/ 69225 h 207458"/>
              <a:gd name="connsiteX11" fmla="*/ 735318 w 1185143"/>
              <a:gd name="connsiteY11" fmla="*/ 103756 h 207458"/>
              <a:gd name="connsiteX12" fmla="*/ 735318 w 1185143"/>
              <a:gd name="connsiteY12" fmla="*/ 172981 h 207458"/>
              <a:gd name="connsiteX13" fmla="*/ 752718 w 1185143"/>
              <a:gd name="connsiteY13" fmla="*/ 207458 h 207458"/>
              <a:gd name="connsiteX14" fmla="*/ 873821 w 1185143"/>
              <a:gd name="connsiteY14" fmla="*/ 207458 h 207458"/>
              <a:gd name="connsiteX15" fmla="*/ 873821 w 1185143"/>
              <a:gd name="connsiteY15" fmla="*/ 69225 h 207458"/>
              <a:gd name="connsiteX16" fmla="*/ 752718 w 1185143"/>
              <a:gd name="connsiteY16" fmla="*/ 69225 h 207458"/>
              <a:gd name="connsiteX17" fmla="*/ 977577 w 1185143"/>
              <a:gd name="connsiteY17" fmla="*/ 69225 h 207458"/>
              <a:gd name="connsiteX18" fmla="*/ 977577 w 1185143"/>
              <a:gd name="connsiteY18" fmla="*/ 207458 h 207458"/>
              <a:gd name="connsiteX19" fmla="*/ 1029455 w 1185143"/>
              <a:gd name="connsiteY19" fmla="*/ 207458 h 207458"/>
              <a:gd name="connsiteX20" fmla="*/ 1029455 w 1185143"/>
              <a:gd name="connsiteY20" fmla="*/ 103756 h 207458"/>
              <a:gd name="connsiteX21" fmla="*/ 1055394 w 1185143"/>
              <a:gd name="connsiteY21" fmla="*/ 103756 h 207458"/>
              <a:gd name="connsiteX22" fmla="*/ 1055394 w 1185143"/>
              <a:gd name="connsiteY22" fmla="*/ 207458 h 207458"/>
              <a:gd name="connsiteX23" fmla="*/ 1107273 w 1185143"/>
              <a:gd name="connsiteY23" fmla="*/ 207458 h 207458"/>
              <a:gd name="connsiteX24" fmla="*/ 1107273 w 1185143"/>
              <a:gd name="connsiteY24" fmla="*/ 103756 h 207458"/>
              <a:gd name="connsiteX25" fmla="*/ 1133266 w 1185143"/>
              <a:gd name="connsiteY25" fmla="*/ 103756 h 207458"/>
              <a:gd name="connsiteX26" fmla="*/ 1133266 w 1185143"/>
              <a:gd name="connsiteY26" fmla="*/ 207458 h 207458"/>
              <a:gd name="connsiteX27" fmla="*/ 1185144 w 1185143"/>
              <a:gd name="connsiteY27" fmla="*/ 207458 h 207458"/>
              <a:gd name="connsiteX28" fmla="*/ 1185144 w 1185143"/>
              <a:gd name="connsiteY28" fmla="*/ 103756 h 207458"/>
              <a:gd name="connsiteX29" fmla="*/ 1168013 w 1185143"/>
              <a:gd name="connsiteY29" fmla="*/ 69225 h 207458"/>
              <a:gd name="connsiteX30" fmla="*/ 977631 w 1185143"/>
              <a:gd name="connsiteY30" fmla="*/ 69225 h 207458"/>
              <a:gd name="connsiteX31" fmla="*/ 899760 w 1185143"/>
              <a:gd name="connsiteY31" fmla="*/ 207458 h 207458"/>
              <a:gd name="connsiteX32" fmla="*/ 951692 w 1185143"/>
              <a:gd name="connsiteY32" fmla="*/ 207458 h 207458"/>
              <a:gd name="connsiteX33" fmla="*/ 951692 w 1185143"/>
              <a:gd name="connsiteY33" fmla="*/ 69225 h 207458"/>
              <a:gd name="connsiteX34" fmla="*/ 899760 w 1185143"/>
              <a:gd name="connsiteY34" fmla="*/ 69009 h 207458"/>
              <a:gd name="connsiteX35" fmla="*/ 899760 w 1185143"/>
              <a:gd name="connsiteY35" fmla="*/ 207458 h 207458"/>
              <a:gd name="connsiteX36" fmla="*/ 112565 w 1185143"/>
              <a:gd name="connsiteY36" fmla="*/ 34477 h 207458"/>
              <a:gd name="connsiteX37" fmla="*/ 112565 w 1185143"/>
              <a:gd name="connsiteY37" fmla="*/ 103756 h 207458"/>
              <a:gd name="connsiteX38" fmla="*/ 86355 w 1185143"/>
              <a:gd name="connsiteY38" fmla="*/ 103756 h 207458"/>
              <a:gd name="connsiteX39" fmla="*/ 112565 w 1185143"/>
              <a:gd name="connsiteY39" fmla="*/ 34477 h 207458"/>
              <a:gd name="connsiteX40" fmla="*/ 69225 w 1185143"/>
              <a:gd name="connsiteY40" fmla="*/ 0 h 207458"/>
              <a:gd name="connsiteX41" fmla="*/ 0 w 1185143"/>
              <a:gd name="connsiteY41" fmla="*/ 207458 h 207458"/>
              <a:gd name="connsiteX42" fmla="*/ 51878 w 1185143"/>
              <a:gd name="connsiteY42" fmla="*/ 207458 h 207458"/>
              <a:gd name="connsiteX43" fmla="*/ 77817 w 1185143"/>
              <a:gd name="connsiteY43" fmla="*/ 138450 h 207458"/>
              <a:gd name="connsiteX44" fmla="*/ 112565 w 1185143"/>
              <a:gd name="connsiteY44" fmla="*/ 138450 h 207458"/>
              <a:gd name="connsiteX45" fmla="*/ 112565 w 1185143"/>
              <a:gd name="connsiteY45" fmla="*/ 207458 h 207458"/>
              <a:gd name="connsiteX46" fmla="*/ 164443 w 1185143"/>
              <a:gd name="connsiteY46" fmla="*/ 207458 h 207458"/>
              <a:gd name="connsiteX47" fmla="*/ 164443 w 1185143"/>
              <a:gd name="connsiteY47" fmla="*/ 0 h 207458"/>
              <a:gd name="connsiteX48" fmla="*/ 69225 w 1185143"/>
              <a:gd name="connsiteY48" fmla="*/ 0 h 207458"/>
              <a:gd name="connsiteX49" fmla="*/ 190328 w 1185143"/>
              <a:gd name="connsiteY49" fmla="*/ 207458 h 207458"/>
              <a:gd name="connsiteX50" fmla="*/ 242206 w 1185143"/>
              <a:gd name="connsiteY50" fmla="*/ 207458 h 207458"/>
              <a:gd name="connsiteX51" fmla="*/ 242206 w 1185143"/>
              <a:gd name="connsiteY51" fmla="*/ 0 h 207458"/>
              <a:gd name="connsiteX52" fmla="*/ 190328 w 1185143"/>
              <a:gd name="connsiteY52" fmla="*/ 0 h 207458"/>
              <a:gd name="connsiteX53" fmla="*/ 190328 w 1185143"/>
              <a:gd name="connsiteY53" fmla="*/ 207458 h 207458"/>
              <a:gd name="connsiteX54" fmla="*/ 328615 w 1185143"/>
              <a:gd name="connsiteY54" fmla="*/ 0 h 207458"/>
              <a:gd name="connsiteX55" fmla="*/ 328615 w 1185143"/>
              <a:gd name="connsiteY55" fmla="*/ 207458 h 207458"/>
              <a:gd name="connsiteX56" fmla="*/ 380493 w 1185143"/>
              <a:gd name="connsiteY56" fmla="*/ 207458 h 207458"/>
              <a:gd name="connsiteX57" fmla="*/ 380493 w 1185143"/>
              <a:gd name="connsiteY57" fmla="*/ 103756 h 207458"/>
              <a:gd name="connsiteX58" fmla="*/ 415295 w 1185143"/>
              <a:gd name="connsiteY58" fmla="*/ 103756 h 207458"/>
              <a:gd name="connsiteX59" fmla="*/ 415295 w 1185143"/>
              <a:gd name="connsiteY59" fmla="*/ 172981 h 207458"/>
              <a:gd name="connsiteX60" fmla="*/ 432641 w 1185143"/>
              <a:gd name="connsiteY60" fmla="*/ 207458 h 207458"/>
              <a:gd name="connsiteX61" fmla="*/ 553798 w 1185143"/>
              <a:gd name="connsiteY61" fmla="*/ 207458 h 207458"/>
              <a:gd name="connsiteX62" fmla="*/ 553798 w 1185143"/>
              <a:gd name="connsiteY62" fmla="*/ 103756 h 207458"/>
              <a:gd name="connsiteX63" fmla="*/ 579737 w 1185143"/>
              <a:gd name="connsiteY63" fmla="*/ 103756 h 207458"/>
              <a:gd name="connsiteX64" fmla="*/ 579737 w 1185143"/>
              <a:gd name="connsiteY64" fmla="*/ 207458 h 207458"/>
              <a:gd name="connsiteX65" fmla="*/ 631561 w 1185143"/>
              <a:gd name="connsiteY65" fmla="*/ 207458 h 207458"/>
              <a:gd name="connsiteX66" fmla="*/ 631561 w 1185143"/>
              <a:gd name="connsiteY66" fmla="*/ 103756 h 207458"/>
              <a:gd name="connsiteX67" fmla="*/ 657555 w 1185143"/>
              <a:gd name="connsiteY67" fmla="*/ 103756 h 207458"/>
              <a:gd name="connsiteX68" fmla="*/ 657555 w 1185143"/>
              <a:gd name="connsiteY68" fmla="*/ 207458 h 207458"/>
              <a:gd name="connsiteX69" fmla="*/ 709433 w 1185143"/>
              <a:gd name="connsiteY69" fmla="*/ 207458 h 207458"/>
              <a:gd name="connsiteX70" fmla="*/ 709433 w 1185143"/>
              <a:gd name="connsiteY70" fmla="*/ 103756 h 207458"/>
              <a:gd name="connsiteX71" fmla="*/ 735372 w 1185143"/>
              <a:gd name="connsiteY71" fmla="*/ 103756 h 207458"/>
              <a:gd name="connsiteX72" fmla="*/ 735372 w 1185143"/>
              <a:gd name="connsiteY72" fmla="*/ 69225 h 207458"/>
              <a:gd name="connsiteX73" fmla="*/ 709433 w 1185143"/>
              <a:gd name="connsiteY73" fmla="*/ 69225 h 207458"/>
              <a:gd name="connsiteX74" fmla="*/ 709433 w 1185143"/>
              <a:gd name="connsiteY74" fmla="*/ 34477 h 207458"/>
              <a:gd name="connsiteX75" fmla="*/ 657555 w 1185143"/>
              <a:gd name="connsiteY75" fmla="*/ 34477 h 207458"/>
              <a:gd name="connsiteX76" fmla="*/ 657555 w 1185143"/>
              <a:gd name="connsiteY76" fmla="*/ 69225 h 207458"/>
              <a:gd name="connsiteX77" fmla="*/ 631561 w 1185143"/>
              <a:gd name="connsiteY77" fmla="*/ 69225 h 207458"/>
              <a:gd name="connsiteX78" fmla="*/ 631561 w 1185143"/>
              <a:gd name="connsiteY78" fmla="*/ 34477 h 207458"/>
              <a:gd name="connsiteX79" fmla="*/ 579737 w 1185143"/>
              <a:gd name="connsiteY79" fmla="*/ 34477 h 207458"/>
              <a:gd name="connsiteX80" fmla="*/ 579737 w 1185143"/>
              <a:gd name="connsiteY80" fmla="*/ 69225 h 207458"/>
              <a:gd name="connsiteX81" fmla="*/ 501650 w 1185143"/>
              <a:gd name="connsiteY81" fmla="*/ 69225 h 207458"/>
              <a:gd name="connsiteX82" fmla="*/ 501650 w 1185143"/>
              <a:gd name="connsiteY82" fmla="*/ 172927 h 207458"/>
              <a:gd name="connsiteX83" fmla="*/ 467173 w 1185143"/>
              <a:gd name="connsiteY83" fmla="*/ 172927 h 207458"/>
              <a:gd name="connsiteX84" fmla="*/ 467173 w 1185143"/>
              <a:gd name="connsiteY84" fmla="*/ 69225 h 207458"/>
              <a:gd name="connsiteX85" fmla="*/ 380547 w 1185143"/>
              <a:gd name="connsiteY85" fmla="*/ 69225 h 207458"/>
              <a:gd name="connsiteX86" fmla="*/ 380547 w 1185143"/>
              <a:gd name="connsiteY86" fmla="*/ 34477 h 207458"/>
              <a:gd name="connsiteX87" fmla="*/ 467173 w 1185143"/>
              <a:gd name="connsiteY87" fmla="*/ 34477 h 207458"/>
              <a:gd name="connsiteX88" fmla="*/ 467173 w 1185143"/>
              <a:gd name="connsiteY88" fmla="*/ 0 h 207458"/>
              <a:gd name="connsiteX89" fmla="*/ 328669 w 1185143"/>
              <a:gd name="connsiteY89" fmla="*/ 0 h 207458"/>
              <a:gd name="connsiteX90" fmla="*/ 899760 w 1185143"/>
              <a:gd name="connsiteY90" fmla="*/ 34477 h 207458"/>
              <a:gd name="connsiteX91" fmla="*/ 951692 w 1185143"/>
              <a:gd name="connsiteY91" fmla="*/ 34477 h 207458"/>
              <a:gd name="connsiteX92" fmla="*/ 951692 w 1185143"/>
              <a:gd name="connsiteY92" fmla="*/ 0 h 207458"/>
              <a:gd name="connsiteX93" fmla="*/ 899760 w 1185143"/>
              <a:gd name="connsiteY93" fmla="*/ 0 h 207458"/>
              <a:gd name="connsiteX94" fmla="*/ 899760 w 1185143"/>
              <a:gd name="connsiteY94" fmla="*/ 34477 h 20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185143" h="207458">
                <a:moveTo>
                  <a:pt x="259606" y="138234"/>
                </a:moveTo>
                <a:lnTo>
                  <a:pt x="311539" y="138234"/>
                </a:lnTo>
                <a:lnTo>
                  <a:pt x="311539" y="103486"/>
                </a:lnTo>
                <a:lnTo>
                  <a:pt x="259606" y="103486"/>
                </a:lnTo>
                <a:lnTo>
                  <a:pt x="259606" y="138234"/>
                </a:lnTo>
                <a:close/>
                <a:moveTo>
                  <a:pt x="787196" y="103756"/>
                </a:moveTo>
                <a:lnTo>
                  <a:pt x="821943" y="103756"/>
                </a:lnTo>
                <a:lnTo>
                  <a:pt x="821943" y="172981"/>
                </a:lnTo>
                <a:lnTo>
                  <a:pt x="787196" y="172981"/>
                </a:lnTo>
                <a:lnTo>
                  <a:pt x="787196" y="103756"/>
                </a:lnTo>
                <a:close/>
                <a:moveTo>
                  <a:pt x="752718" y="69225"/>
                </a:moveTo>
                <a:lnTo>
                  <a:pt x="735318" y="103756"/>
                </a:lnTo>
                <a:lnTo>
                  <a:pt x="735318" y="172981"/>
                </a:lnTo>
                <a:lnTo>
                  <a:pt x="752718" y="207458"/>
                </a:lnTo>
                <a:lnTo>
                  <a:pt x="873821" y="207458"/>
                </a:lnTo>
                <a:lnTo>
                  <a:pt x="873821" y="69225"/>
                </a:lnTo>
                <a:lnTo>
                  <a:pt x="752718" y="69225"/>
                </a:lnTo>
                <a:close/>
                <a:moveTo>
                  <a:pt x="977577" y="69225"/>
                </a:moveTo>
                <a:lnTo>
                  <a:pt x="977577" y="207458"/>
                </a:lnTo>
                <a:lnTo>
                  <a:pt x="1029455" y="207458"/>
                </a:lnTo>
                <a:lnTo>
                  <a:pt x="1029455" y="103756"/>
                </a:lnTo>
                <a:lnTo>
                  <a:pt x="1055394" y="103756"/>
                </a:lnTo>
                <a:lnTo>
                  <a:pt x="1055394" y="207458"/>
                </a:lnTo>
                <a:lnTo>
                  <a:pt x="1107273" y="207458"/>
                </a:lnTo>
                <a:lnTo>
                  <a:pt x="1107273" y="103756"/>
                </a:lnTo>
                <a:lnTo>
                  <a:pt x="1133266" y="103756"/>
                </a:lnTo>
                <a:lnTo>
                  <a:pt x="1133266" y="207458"/>
                </a:lnTo>
                <a:lnTo>
                  <a:pt x="1185144" y="207458"/>
                </a:lnTo>
                <a:lnTo>
                  <a:pt x="1185144" y="103756"/>
                </a:lnTo>
                <a:lnTo>
                  <a:pt x="1168013" y="69225"/>
                </a:lnTo>
                <a:lnTo>
                  <a:pt x="977631" y="69225"/>
                </a:lnTo>
                <a:close/>
                <a:moveTo>
                  <a:pt x="899760" y="207458"/>
                </a:moveTo>
                <a:lnTo>
                  <a:pt x="951692" y="207458"/>
                </a:lnTo>
                <a:lnTo>
                  <a:pt x="951692" y="69225"/>
                </a:lnTo>
                <a:lnTo>
                  <a:pt x="899760" y="69009"/>
                </a:lnTo>
                <a:lnTo>
                  <a:pt x="899760" y="207458"/>
                </a:lnTo>
                <a:close/>
                <a:moveTo>
                  <a:pt x="112565" y="34477"/>
                </a:moveTo>
                <a:lnTo>
                  <a:pt x="112565" y="103756"/>
                </a:lnTo>
                <a:lnTo>
                  <a:pt x="86355" y="103756"/>
                </a:lnTo>
                <a:lnTo>
                  <a:pt x="112565" y="34477"/>
                </a:lnTo>
                <a:close/>
                <a:moveTo>
                  <a:pt x="69225" y="0"/>
                </a:moveTo>
                <a:lnTo>
                  <a:pt x="0" y="207458"/>
                </a:lnTo>
                <a:lnTo>
                  <a:pt x="51878" y="207458"/>
                </a:lnTo>
                <a:lnTo>
                  <a:pt x="77817" y="138450"/>
                </a:lnTo>
                <a:lnTo>
                  <a:pt x="112565" y="138450"/>
                </a:lnTo>
                <a:lnTo>
                  <a:pt x="112565" y="207458"/>
                </a:lnTo>
                <a:lnTo>
                  <a:pt x="164443" y="207458"/>
                </a:lnTo>
                <a:lnTo>
                  <a:pt x="164443" y="0"/>
                </a:lnTo>
                <a:lnTo>
                  <a:pt x="69225" y="0"/>
                </a:lnTo>
                <a:close/>
                <a:moveTo>
                  <a:pt x="190328" y="207458"/>
                </a:moveTo>
                <a:lnTo>
                  <a:pt x="242206" y="207458"/>
                </a:lnTo>
                <a:lnTo>
                  <a:pt x="242206" y="0"/>
                </a:lnTo>
                <a:lnTo>
                  <a:pt x="190328" y="0"/>
                </a:lnTo>
                <a:lnTo>
                  <a:pt x="190328" y="207458"/>
                </a:lnTo>
                <a:close/>
                <a:moveTo>
                  <a:pt x="328615" y="0"/>
                </a:moveTo>
                <a:lnTo>
                  <a:pt x="328615" y="207458"/>
                </a:lnTo>
                <a:lnTo>
                  <a:pt x="380493" y="207458"/>
                </a:lnTo>
                <a:lnTo>
                  <a:pt x="380493" y="103756"/>
                </a:lnTo>
                <a:lnTo>
                  <a:pt x="415295" y="103756"/>
                </a:lnTo>
                <a:lnTo>
                  <a:pt x="415295" y="172981"/>
                </a:lnTo>
                <a:lnTo>
                  <a:pt x="432641" y="207458"/>
                </a:lnTo>
                <a:lnTo>
                  <a:pt x="553798" y="207458"/>
                </a:lnTo>
                <a:lnTo>
                  <a:pt x="553798" y="103756"/>
                </a:lnTo>
                <a:lnTo>
                  <a:pt x="579737" y="103756"/>
                </a:lnTo>
                <a:lnTo>
                  <a:pt x="579737" y="207458"/>
                </a:lnTo>
                <a:lnTo>
                  <a:pt x="631561" y="207458"/>
                </a:lnTo>
                <a:lnTo>
                  <a:pt x="631561" y="103756"/>
                </a:lnTo>
                <a:lnTo>
                  <a:pt x="657555" y="103756"/>
                </a:lnTo>
                <a:lnTo>
                  <a:pt x="657555" y="207458"/>
                </a:lnTo>
                <a:lnTo>
                  <a:pt x="709433" y="207458"/>
                </a:lnTo>
                <a:lnTo>
                  <a:pt x="709433" y="103756"/>
                </a:lnTo>
                <a:lnTo>
                  <a:pt x="735372" y="103756"/>
                </a:lnTo>
                <a:lnTo>
                  <a:pt x="735372" y="69225"/>
                </a:lnTo>
                <a:lnTo>
                  <a:pt x="709433" y="69225"/>
                </a:lnTo>
                <a:lnTo>
                  <a:pt x="709433" y="34477"/>
                </a:lnTo>
                <a:lnTo>
                  <a:pt x="657555" y="34477"/>
                </a:lnTo>
                <a:lnTo>
                  <a:pt x="657555" y="69225"/>
                </a:lnTo>
                <a:lnTo>
                  <a:pt x="631561" y="69225"/>
                </a:lnTo>
                <a:lnTo>
                  <a:pt x="631561" y="34477"/>
                </a:lnTo>
                <a:lnTo>
                  <a:pt x="579737" y="34477"/>
                </a:lnTo>
                <a:lnTo>
                  <a:pt x="579737" y="69225"/>
                </a:lnTo>
                <a:lnTo>
                  <a:pt x="501650" y="69225"/>
                </a:lnTo>
                <a:lnTo>
                  <a:pt x="501650" y="172927"/>
                </a:lnTo>
                <a:lnTo>
                  <a:pt x="467173" y="172927"/>
                </a:lnTo>
                <a:lnTo>
                  <a:pt x="467173" y="69225"/>
                </a:lnTo>
                <a:lnTo>
                  <a:pt x="380547" y="69225"/>
                </a:lnTo>
                <a:lnTo>
                  <a:pt x="380547" y="34477"/>
                </a:lnTo>
                <a:lnTo>
                  <a:pt x="467173" y="34477"/>
                </a:lnTo>
                <a:lnTo>
                  <a:pt x="467173" y="0"/>
                </a:lnTo>
                <a:lnTo>
                  <a:pt x="328669" y="0"/>
                </a:lnTo>
                <a:close/>
                <a:moveTo>
                  <a:pt x="899760" y="34477"/>
                </a:moveTo>
                <a:lnTo>
                  <a:pt x="951692" y="34477"/>
                </a:lnTo>
                <a:lnTo>
                  <a:pt x="951692" y="0"/>
                </a:lnTo>
                <a:lnTo>
                  <a:pt x="899760" y="0"/>
                </a:lnTo>
                <a:lnTo>
                  <a:pt x="899760" y="34477"/>
                </a:lnTo>
                <a:close/>
              </a:path>
            </a:pathLst>
          </a:custGeom>
          <a:solidFill>
            <a:srgbClr val="004F9F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61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500" userDrawn="1">
          <p15:clr>
            <a:srgbClr val="FBAE40"/>
          </p15:clr>
        </p15:guide>
        <p15:guide id="4" orient="horz" pos="232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68002" y="3968750"/>
            <a:ext cx="3584248" cy="77559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</a:t>
            </a:r>
            <a:r>
              <a:rPr lang="en-US" dirty="0" err="1"/>
              <a:t>Chapter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682B46-6345-4219-AAD7-18DCC2133C42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67D27C3-EAAD-645A-5694-915755BD85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68002" y="3267988"/>
            <a:ext cx="3584248" cy="430887"/>
          </a:xfrm>
        </p:spPr>
        <p:txBody>
          <a:bodyPr anchor="b">
            <a:sp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8CB05548-1B60-6192-73CB-55868E6B189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7707313" cy="6858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78BDFF0-E115-D7E1-4FFD-57F1679EC926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53EE2A4-13E7-3913-138F-02405A646276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CFCF2DD-9797-EBB7-4082-203876D5AF01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8741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55" userDrawn="1">
          <p15:clr>
            <a:srgbClr val="FBAE40"/>
          </p15:clr>
        </p15:guide>
        <p15:guide id="2" pos="5081" userDrawn="1">
          <p15:clr>
            <a:srgbClr val="FBAE40"/>
          </p15:clr>
        </p15:guide>
        <p15:guide id="3" orient="horz" pos="2330" userDrawn="1">
          <p15:clr>
            <a:srgbClr val="FBAE40"/>
          </p15:clr>
        </p15:guide>
        <p15:guide id="4" orient="horz" pos="250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68002" y="3968750"/>
            <a:ext cx="3584248" cy="77559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</a:t>
            </a:r>
            <a:r>
              <a:rPr lang="en-US" dirty="0" err="1"/>
              <a:t>Chapter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B7722E2-F33E-448F-90AF-AA26FB11B3A2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67D27C3-EAAD-645A-5694-915755BD85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68002" y="3267988"/>
            <a:ext cx="3584248" cy="430887"/>
          </a:xfrm>
        </p:spPr>
        <p:txBody>
          <a:bodyPr anchor="b">
            <a:sp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8CB05548-1B60-6192-73CB-55868E6B189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7707313" cy="6858000"/>
          </a:xfrm>
          <a:solidFill>
            <a:schemeClr val="accent4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736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55" userDrawn="1">
          <p15:clr>
            <a:srgbClr val="FBAE40"/>
          </p15:clr>
        </p15:guide>
        <p15:guide id="2" pos="5081" userDrawn="1">
          <p15:clr>
            <a:srgbClr val="FBAE40"/>
          </p15:clr>
        </p15:guide>
        <p15:guide id="3" orient="horz" pos="2330" userDrawn="1">
          <p15:clr>
            <a:srgbClr val="FBAE40"/>
          </p15:clr>
        </p15:guide>
        <p15:guide id="4" orient="horz" pos="250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_empty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DA5A66-7580-4124-9831-0A2A06E108DB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60719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2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ags" Target="../tags/tag15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10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FDADF5F-7A5D-D28D-7D10-000EAFC3F3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911239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473" imgH="473" progId="TCLayout.ActiveDocument.1">
                  <p:embed/>
                </p:oleObj>
              </mc:Choice>
              <mc:Fallback>
                <p:oleObj name="think-cell Folie" r:id="rId42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DADF5F-7A5D-D28D-7D10-000EAFC3F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8C974D-9AA5-C8CA-9908-5381067CB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40001"/>
            <a:ext cx="9230251" cy="3877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ease insert a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12503D-348A-882A-9F38-8CF38555CD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49" y="1618720"/>
            <a:ext cx="11112499" cy="44264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First Layer</a:t>
            </a:r>
          </a:p>
          <a:p>
            <a:pPr lvl="1"/>
            <a:r>
              <a:rPr lang="en-US"/>
              <a:t>Second Layer</a:t>
            </a:r>
          </a:p>
          <a:p>
            <a:pPr lvl="2"/>
            <a:r>
              <a:rPr lang="en-US"/>
              <a:t>Third Layer</a:t>
            </a:r>
          </a:p>
          <a:p>
            <a:pPr lvl="3"/>
            <a:r>
              <a:rPr lang="en-US"/>
              <a:t>Fourth Layer</a:t>
            </a:r>
          </a:p>
          <a:p>
            <a:pPr lvl="4"/>
            <a:r>
              <a:rPr lang="en-US"/>
              <a:t>Fifth Layer</a:t>
            </a:r>
          </a:p>
          <a:p>
            <a:pPr lvl="5"/>
            <a:r>
              <a:rPr lang="en-US"/>
              <a:t>Sixth Layer </a:t>
            </a:r>
          </a:p>
          <a:p>
            <a:pPr lvl="6"/>
            <a:r>
              <a:rPr lang="en-US"/>
              <a:t>Seventh Layer</a:t>
            </a:r>
          </a:p>
          <a:p>
            <a:pPr lvl="7"/>
            <a:r>
              <a:rPr lang="en-US"/>
              <a:t>Eighth Layer</a:t>
            </a:r>
          </a:p>
          <a:p>
            <a:pPr lvl="8"/>
            <a:r>
              <a:rPr lang="en-US"/>
              <a:t>Ninth Laye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D30EE-C27B-F1EB-0D0C-7637FA8B3E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748" y="6462506"/>
            <a:ext cx="5556251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089DC-5C10-B6FD-155A-16A1CCEA35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533" y="6462506"/>
            <a:ext cx="230714" cy="1231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C74B4B1E-A977-A2F9-4589-C8AB3DB3C544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D68FDAA8-BDEC-4693-9617-B7B51B6340E7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solidFill>
              <a:srgbClr val="004F9F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9F63A898-AD69-8BA5-07D1-AAA07974F88E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Date Placeholder 3">
            <a:extLst>
              <a:ext uri="{FF2B5EF4-FFF2-40B4-BE49-F238E27FC236}">
                <a16:creationId xmlns:a16="http://schemas.microsoft.com/office/drawing/2014/main" id="{6A634AEF-4759-25B2-1BC2-9C7D670CB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73821" y="6462506"/>
            <a:ext cx="639762" cy="123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7176DF7C-6FEF-43AC-8941-E0621A879D91}" type="datetime1">
              <a:rPr lang="en-US" smtClean="0"/>
              <a:t>12/09/202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798EA01-246B-E255-B5E8-CC52DDEE51F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24450" y="6642100"/>
            <a:ext cx="19716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ed : General Al-Futtaim Group</a:t>
            </a:r>
          </a:p>
        </p:txBody>
      </p:sp>
    </p:spTree>
    <p:extLst>
      <p:ext uri="{BB962C8B-B14F-4D97-AF65-F5344CB8AC3E}">
        <p14:creationId xmlns:p14="http://schemas.microsoft.com/office/powerpoint/2010/main" val="3702537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64" r:id="rId7"/>
    <p:sldLayoutId id="2147483663" r:id="rId8"/>
    <p:sldLayoutId id="2147483656" r:id="rId9"/>
    <p:sldLayoutId id="2147483650" r:id="rId10"/>
    <p:sldLayoutId id="2147483657" r:id="rId11"/>
    <p:sldLayoutId id="2147483658" r:id="rId12"/>
    <p:sldLayoutId id="2147483659" r:id="rId13"/>
    <p:sldLayoutId id="2147483660" r:id="rId14"/>
    <p:sldLayoutId id="2147483661" r:id="rId15"/>
    <p:sldLayoutId id="2147483662" r:id="rId16"/>
    <p:sldLayoutId id="2147483671" r:id="rId17"/>
    <p:sldLayoutId id="2147483672" r:id="rId18"/>
    <p:sldLayoutId id="2147483673" r:id="rId19"/>
    <p:sldLayoutId id="2147483680" r:id="rId20"/>
    <p:sldLayoutId id="2147483674" r:id="rId21"/>
    <p:sldLayoutId id="2147483675" r:id="rId22"/>
    <p:sldLayoutId id="2147483681" r:id="rId23"/>
    <p:sldLayoutId id="2147483676" r:id="rId24"/>
    <p:sldLayoutId id="2147483677" r:id="rId25"/>
    <p:sldLayoutId id="2147483665" r:id="rId26"/>
    <p:sldLayoutId id="2147483682" r:id="rId27"/>
    <p:sldLayoutId id="2147483666" r:id="rId28"/>
    <p:sldLayoutId id="2147483667" r:id="rId29"/>
    <p:sldLayoutId id="2147483668" r:id="rId30"/>
    <p:sldLayoutId id="2147483669" r:id="rId31"/>
    <p:sldLayoutId id="2147483670" r:id="rId32"/>
    <p:sldLayoutId id="2147483678" r:id="rId33"/>
    <p:sldLayoutId id="2147483679" r:id="rId34"/>
    <p:sldLayoutId id="2147483696" r:id="rId35"/>
    <p:sldLayoutId id="2147483697" r:id="rId36"/>
    <p:sldLayoutId id="2147483698" r:id="rId37"/>
    <p:sldLayoutId id="2147483699" r:id="rId38"/>
    <p:sldLayoutId id="2147483700" r:id="rId3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2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60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80" userDrawn="1">
          <p15:clr>
            <a:srgbClr val="F26B43"/>
          </p15:clr>
        </p15:guide>
        <p15:guide id="3" pos="339" userDrawn="1">
          <p15:clr>
            <a:srgbClr val="F26B43"/>
          </p15:clr>
        </p15:guide>
        <p15:guide id="4" pos="7340" userDrawn="1">
          <p15:clr>
            <a:srgbClr val="F26B43"/>
          </p15:clr>
        </p15:guide>
        <p15:guide id="5" orient="horz" pos="1019" userDrawn="1">
          <p15:clr>
            <a:srgbClr val="F26B43"/>
          </p15:clr>
        </p15:guide>
        <p15:guide id="6" orient="horz" pos="339" userDrawn="1">
          <p15:clr>
            <a:srgbClr val="F26B43"/>
          </p15:clr>
        </p15:guide>
        <p15:guide id="7" orient="horz" pos="851" userDrawn="1">
          <p15:clr>
            <a:srgbClr val="F26B43"/>
          </p15:clr>
        </p15:guide>
        <p15:guide id="8" orient="horz" pos="4149" userDrawn="1">
          <p15:clr>
            <a:srgbClr val="F26B43"/>
          </p15:clr>
        </p15:guide>
        <p15:guide id="9" orient="horz" pos="380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495745DE-65CD-4F8F-A261-B1F6844343A4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215430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495745DE-65CD-4F8F-A261-B1F6844343A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430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350EA72-916C-45A9-8CEE-73C22063F24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215430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x-none" sz="1837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>
            <a:extLst>
              <a:ext uri="{FF2B5EF4-FFF2-40B4-BE49-F238E27FC236}">
                <a16:creationId xmlns:a16="http://schemas.microsoft.com/office/drawing/2014/main" id="{C56466F6-EF07-4248-BA69-DABE7809A173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113461" y="1979058"/>
            <a:ext cx="1965947" cy="9610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>
                <a:solidFill>
                  <a:srgbClr val="808080"/>
                </a:solidFill>
                <a:latin typeface="+mn-lt"/>
              </a:rPr>
              <a:t>Last Modified 12/08/2020 04:05 Arabian Standard Time</a:t>
            </a:r>
            <a:endParaRPr sz="1632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35" name="Printed" hidden="1">
            <a:extLst>
              <a:ext uri="{FF2B5EF4-FFF2-40B4-BE49-F238E27FC236}">
                <a16:creationId xmlns:a16="http://schemas.microsoft.com/office/drawing/2014/main" id="{4C62C3A9-AD64-4F14-A658-E20D7123F4F9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224679" y="4197298"/>
            <a:ext cx="1743510" cy="9610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>
                <a:solidFill>
                  <a:srgbClr val="808080"/>
                </a:solidFill>
                <a:latin typeface="+mn-lt"/>
              </a:rPr>
              <a:t>Printed 25/07/2020 16:01 Arabian Standard Time</a:t>
            </a:r>
            <a:endParaRPr sz="1632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30" name="Title Placeholder 2">
            <a:extLst>
              <a:ext uri="{FF2B5EF4-FFF2-40B4-BE49-F238E27FC236}">
                <a16:creationId xmlns:a16="http://schemas.microsoft.com/office/drawing/2014/main" id="{65A41C96-0F77-4267-817E-43D9C45EF47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63597" y="234864"/>
            <a:ext cx="11725506" cy="314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" name="1. On-page tracker" hidden="1">
            <a:extLst>
              <a:ext uri="{FF2B5EF4-FFF2-40B4-BE49-F238E27FC236}">
                <a16:creationId xmlns:a16="http://schemas.microsoft.com/office/drawing/2014/main" id="{931442EE-D1A0-4B63-8089-4E8E00F02D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1977" y="77748"/>
            <a:ext cx="511939" cy="12809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defRPr/>
            </a:pPr>
            <a:r>
              <a:rPr lang="x-none" sz="816" cap="all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>
            <a:extLst>
              <a:ext uri="{FF2B5EF4-FFF2-40B4-BE49-F238E27FC236}">
                <a16:creationId xmlns:a16="http://schemas.microsoft.com/office/drawing/2014/main" id="{13AE87C4-B8F6-45A9-8AE8-D7105903C5D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1977" y="566911"/>
            <a:ext cx="11725507" cy="25626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1632">
                <a:solidFill>
                  <a:schemeClr val="accent6"/>
                </a:solidFill>
                <a:latin typeface="+mn-lt"/>
              </a:rPr>
              <a:t>Unit of measure</a:t>
            </a:r>
          </a:p>
        </p:txBody>
      </p:sp>
      <p:sp>
        <p:nvSpPr>
          <p:cNvPr id="1033" name="Text Placeholder 2">
            <a:extLst>
              <a:ext uri="{FF2B5EF4-FFF2-40B4-BE49-F238E27FC236}">
                <a16:creationId xmlns:a16="http://schemas.microsoft.com/office/drawing/2014/main" id="{2BBE072D-B39F-4DDA-9700-6AFCBC42F29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2696916" y="2716313"/>
            <a:ext cx="5852224" cy="1255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2" name="ACET" hidden="1">
            <a:extLst>
              <a:ext uri="{FF2B5EF4-FFF2-40B4-BE49-F238E27FC236}">
                <a16:creationId xmlns:a16="http://schemas.microsoft.com/office/drawing/2014/main" id="{61FAE8AD-BB5E-4989-832A-BBF00F7BA2FA}"/>
              </a:ext>
            </a:extLst>
          </p:cNvPr>
          <p:cNvGrpSpPr>
            <a:grpSpLocks/>
          </p:cNvGrpSpPr>
          <p:nvPr/>
        </p:nvGrpSpPr>
        <p:grpSpPr bwMode="auto">
          <a:xfrm>
            <a:off x="2696916" y="1995526"/>
            <a:ext cx="5800391" cy="531276"/>
            <a:chOff x="915" y="702"/>
            <a:chExt cx="2686" cy="328"/>
          </a:xfrm>
        </p:grpSpPr>
        <p:cxnSp>
          <p:nvCxnSpPr>
            <p:cNvPr id="16" name="AutoShape 249">
              <a:extLst>
                <a:ext uri="{FF2B5EF4-FFF2-40B4-BE49-F238E27FC236}">
                  <a16:creationId xmlns:a16="http://schemas.microsoft.com/office/drawing/2014/main" id="{8ED9BC8A-4D2E-4E89-A49F-E394105344CD}"/>
                </a:ext>
              </a:extLst>
            </p:cNvPr>
            <p:cNvCxnSpPr>
              <a:cxnSpLocks noChangeShapeType="1"/>
              <a:stCxn id="1084" idx="4"/>
              <a:endCxn id="108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084" name="AutoShape 250">
              <a:extLst>
                <a:ext uri="{FF2B5EF4-FFF2-40B4-BE49-F238E27FC236}">
                  <a16:creationId xmlns:a16="http://schemas.microsoft.com/office/drawing/2014/main" id="{9FBD549D-4CDA-4E05-8BA8-3B54AA9352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632" b="1">
                  <a:solidFill>
                    <a:srgbClr val="000000"/>
                  </a:solidFill>
                </a:rPr>
                <a:t>Title</a:t>
              </a:r>
            </a:p>
            <a:p>
              <a:pPr eaLnBrk="1" hangingPunct="1"/>
              <a:r>
                <a:rPr lang="en-US" altLang="en-US" sz="1632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C63ACEAC-C6B0-41E5-B556-86BA04F5FF5C}"/>
              </a:ext>
            </a:extLst>
          </p:cNvPr>
          <p:cNvSpPr/>
          <p:nvPr/>
        </p:nvSpPr>
        <p:spPr bwMode="ltGray">
          <a:xfrm>
            <a:off x="1" y="6559967"/>
            <a:ext cx="12192000" cy="298033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>
            <a:extLst>
              <a:ext uri="{FF2B5EF4-FFF2-40B4-BE49-F238E27FC236}">
                <a16:creationId xmlns:a16="http://schemas.microsoft.com/office/drawing/2014/main" id="{1187C83D-ACC0-4338-BCBA-6188D6C566E7}"/>
              </a:ext>
            </a:extLst>
          </p:cNvPr>
          <p:cNvSpPr txBox="1">
            <a:spLocks/>
          </p:cNvSpPr>
          <p:nvPr/>
        </p:nvSpPr>
        <p:spPr bwMode="ltGray">
          <a:xfrm>
            <a:off x="11756636" y="6639267"/>
            <a:ext cx="130848" cy="12809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eaLnBrk="1" hangingPunct="1">
              <a:defRPr/>
            </a:pPr>
            <a:fld id="{EF94B6AB-4536-4756-A909-E92041948507}" type="slidenum">
              <a:rPr sz="816" smtClean="0">
                <a:solidFill>
                  <a:schemeClr val="bg1"/>
                </a:solidFill>
              </a:rPr>
              <a:pPr algn="r" eaLnBrk="1" hangingPunct="1">
                <a:defRPr/>
              </a:pPr>
              <a:t>‹#›</a:t>
            </a:fld>
            <a:endParaRPr sz="816">
              <a:solidFill>
                <a:schemeClr val="bg1"/>
              </a:solidFill>
            </a:endParaRPr>
          </a:p>
        </p:txBody>
      </p:sp>
      <p:grpSp>
        <p:nvGrpSpPr>
          <p:cNvPr id="1037" name="Slide Elements" hidden="1">
            <a:extLst>
              <a:ext uri="{FF2B5EF4-FFF2-40B4-BE49-F238E27FC236}">
                <a16:creationId xmlns:a16="http://schemas.microsoft.com/office/drawing/2014/main" id="{D88D2E6B-6208-462E-A363-E9C8E5CFA72E}"/>
              </a:ext>
            </a:extLst>
          </p:cNvPr>
          <p:cNvGrpSpPr>
            <a:grpSpLocks/>
          </p:cNvGrpSpPr>
          <p:nvPr/>
        </p:nvGrpSpPr>
        <p:grpSpPr bwMode="auto">
          <a:xfrm>
            <a:off x="161977" y="6376793"/>
            <a:ext cx="11725507" cy="390210"/>
            <a:chOff x="119063" y="6249337"/>
            <a:chExt cx="8618537" cy="382998"/>
          </a:xfrm>
        </p:grpSpPr>
        <p:sp>
          <p:nvSpPr>
            <p:cNvPr id="13" name="4. Footnote">
              <a:extLst>
                <a:ext uri="{FF2B5EF4-FFF2-40B4-BE49-F238E27FC236}">
                  <a16:creationId xmlns:a16="http://schemas.microsoft.com/office/drawing/2014/main" id="{3CA65476-F2BE-428F-98F3-A3E0D6FBBE9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249337"/>
              <a:ext cx="8618537" cy="12572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 eaLnBrk="1" hangingPunct="1">
                <a:defRPr lang="x-none"/>
              </a:pPr>
              <a:r>
                <a:rPr sz="816">
                  <a:solidFill>
                    <a:srgbClr val="808080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1082" name="5. Source">
              <a:extLst>
                <a:ext uri="{FF2B5EF4-FFF2-40B4-BE49-F238E27FC236}">
                  <a16:creationId xmlns:a16="http://schemas.microsoft.com/office/drawing/2014/main" id="{B713F52A-DA66-4DA0-BFC3-D6364B7495F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06606"/>
              <a:ext cx="7690797" cy="1257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514350" indent="-5143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816">
                  <a:solidFill>
                    <a:schemeClr val="bg1"/>
                  </a:solidFill>
                </a:rPr>
                <a:t>SOURCE: Source</a:t>
              </a:r>
            </a:p>
          </p:txBody>
        </p:sp>
      </p:grpSp>
      <p:grpSp>
        <p:nvGrpSpPr>
          <p:cNvPr id="1038" name="LegendBoxes" hidden="1">
            <a:extLst>
              <a:ext uri="{FF2B5EF4-FFF2-40B4-BE49-F238E27FC236}">
                <a16:creationId xmlns:a16="http://schemas.microsoft.com/office/drawing/2014/main" id="{A39012C9-BA68-4B75-BB23-9EDD6EC49804}"/>
              </a:ext>
            </a:extLst>
          </p:cNvPr>
          <p:cNvGrpSpPr>
            <a:grpSpLocks/>
          </p:cNvGrpSpPr>
          <p:nvPr/>
        </p:nvGrpSpPr>
        <p:grpSpPr bwMode="auto">
          <a:xfrm>
            <a:off x="11108375" y="275357"/>
            <a:ext cx="788828" cy="1022060"/>
            <a:chOff x="4936" y="176"/>
            <a:chExt cx="487" cy="631"/>
          </a:xfrm>
        </p:grpSpPr>
        <p:sp>
          <p:nvSpPr>
            <p:cNvPr id="1073" name="Legend1">
              <a:extLst>
                <a:ext uri="{FF2B5EF4-FFF2-40B4-BE49-F238E27FC236}">
                  <a16:creationId xmlns:a16="http://schemas.microsoft.com/office/drawing/2014/main" id="{A948A4BB-0516-4838-941F-536D83605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4" name="LegendRectangle1">
              <a:extLst>
                <a:ext uri="{FF2B5EF4-FFF2-40B4-BE49-F238E27FC236}">
                  <a16:creationId xmlns:a16="http://schemas.microsoft.com/office/drawing/2014/main" id="{8EEA361E-265B-414C-BFD9-6AB12AF79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  <p:sp>
          <p:nvSpPr>
            <p:cNvPr id="1075" name="Legend2">
              <a:extLst>
                <a:ext uri="{FF2B5EF4-FFF2-40B4-BE49-F238E27FC236}">
                  <a16:creationId xmlns:a16="http://schemas.microsoft.com/office/drawing/2014/main" id="{0BF2AB25-A5D7-4042-82D7-86C9C9127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6" name="LegendRectangle2">
              <a:extLst>
                <a:ext uri="{FF2B5EF4-FFF2-40B4-BE49-F238E27FC236}">
                  <a16:creationId xmlns:a16="http://schemas.microsoft.com/office/drawing/2014/main" id="{8F1AF581-37EA-4B54-A7B4-DBB93C1E6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  <p:sp>
          <p:nvSpPr>
            <p:cNvPr id="1077" name="Legend3">
              <a:extLst>
                <a:ext uri="{FF2B5EF4-FFF2-40B4-BE49-F238E27FC236}">
                  <a16:creationId xmlns:a16="http://schemas.microsoft.com/office/drawing/2014/main" id="{E7D17EA0-463A-4558-ADF1-C0D0D9F4B4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8" name="LegendRectangle3">
              <a:extLst>
                <a:ext uri="{FF2B5EF4-FFF2-40B4-BE49-F238E27FC236}">
                  <a16:creationId xmlns:a16="http://schemas.microsoft.com/office/drawing/2014/main" id="{5900952F-562B-4EE3-9DB5-59995BD7ED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  <p:sp>
          <p:nvSpPr>
            <p:cNvPr id="1079" name="Legend4">
              <a:extLst>
                <a:ext uri="{FF2B5EF4-FFF2-40B4-BE49-F238E27FC236}">
                  <a16:creationId xmlns:a16="http://schemas.microsoft.com/office/drawing/2014/main" id="{0248D2EF-996C-432C-A811-3CE80F330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80" name="LegendRectangle4">
              <a:extLst>
                <a:ext uri="{FF2B5EF4-FFF2-40B4-BE49-F238E27FC236}">
                  <a16:creationId xmlns:a16="http://schemas.microsoft.com/office/drawing/2014/main" id="{C171C472-DB04-4AAE-881B-50DDD25DB4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</p:grpSp>
      <p:grpSp>
        <p:nvGrpSpPr>
          <p:cNvPr id="1039" name="LegendLines" hidden="1">
            <a:extLst>
              <a:ext uri="{FF2B5EF4-FFF2-40B4-BE49-F238E27FC236}">
                <a16:creationId xmlns:a16="http://schemas.microsoft.com/office/drawing/2014/main" id="{85C8E763-32C7-4BA0-A9C3-73BCA402E7D1}"/>
              </a:ext>
            </a:extLst>
          </p:cNvPr>
          <p:cNvGrpSpPr>
            <a:grpSpLocks/>
          </p:cNvGrpSpPr>
          <p:nvPr/>
        </p:nvGrpSpPr>
        <p:grpSpPr bwMode="auto">
          <a:xfrm>
            <a:off x="10794139" y="275357"/>
            <a:ext cx="1103063" cy="749942"/>
            <a:chOff x="4750" y="176"/>
            <a:chExt cx="681" cy="463"/>
          </a:xfrm>
        </p:grpSpPr>
        <p:sp>
          <p:nvSpPr>
            <p:cNvPr id="77" name="LineLegend1">
              <a:extLst>
                <a:ext uri="{FF2B5EF4-FFF2-40B4-BE49-F238E27FC236}">
                  <a16:creationId xmlns:a16="http://schemas.microsoft.com/office/drawing/2014/main" id="{53E1249D-5426-459B-8513-F20BB00FBE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24">
                <a:latin typeface="+mn-lt"/>
              </a:endParaRPr>
            </a:p>
          </p:txBody>
        </p:sp>
        <p:sp>
          <p:nvSpPr>
            <p:cNvPr id="78" name="LineLegend2">
              <a:extLst>
                <a:ext uri="{FF2B5EF4-FFF2-40B4-BE49-F238E27FC236}">
                  <a16:creationId xmlns:a16="http://schemas.microsoft.com/office/drawing/2014/main" id="{8351C01B-9042-4F5E-A030-C73DC47DA9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24">
                <a:latin typeface="+mn-lt"/>
              </a:endParaRPr>
            </a:p>
          </p:txBody>
        </p:sp>
        <p:sp>
          <p:nvSpPr>
            <p:cNvPr id="79" name="LineLegend3">
              <a:extLst>
                <a:ext uri="{FF2B5EF4-FFF2-40B4-BE49-F238E27FC236}">
                  <a16:creationId xmlns:a16="http://schemas.microsoft.com/office/drawing/2014/main" id="{A28EE84D-6A66-4970-92EF-5838DB9D7F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24">
                <a:latin typeface="+mn-lt"/>
              </a:endParaRPr>
            </a:p>
          </p:txBody>
        </p:sp>
        <p:sp>
          <p:nvSpPr>
            <p:cNvPr id="1070" name="Legend1">
              <a:extLst>
                <a:ext uri="{FF2B5EF4-FFF2-40B4-BE49-F238E27FC236}">
                  <a16:creationId xmlns:a16="http://schemas.microsoft.com/office/drawing/2014/main" id="{31BB8EBE-A231-4FC6-85A4-B4DD1BFFC3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1" name="Legend2">
              <a:extLst>
                <a:ext uri="{FF2B5EF4-FFF2-40B4-BE49-F238E27FC236}">
                  <a16:creationId xmlns:a16="http://schemas.microsoft.com/office/drawing/2014/main" id="{09A48560-B6C3-4177-A280-8BF2D01AD4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2" name="Legend3">
              <a:extLst>
                <a:ext uri="{FF2B5EF4-FFF2-40B4-BE49-F238E27FC236}">
                  <a16:creationId xmlns:a16="http://schemas.microsoft.com/office/drawing/2014/main" id="{ACB142E1-5942-40F4-A79C-886165AD34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</p:grpSp>
      <p:grpSp>
        <p:nvGrpSpPr>
          <p:cNvPr id="1040" name="McKSticker" hidden="1">
            <a:extLst>
              <a:ext uri="{FF2B5EF4-FFF2-40B4-BE49-F238E27FC236}">
                <a16:creationId xmlns:a16="http://schemas.microsoft.com/office/drawing/2014/main" id="{5A83C841-BB50-42FA-8465-884A11F34C1A}"/>
              </a:ext>
            </a:extLst>
          </p:cNvPr>
          <p:cNvGrpSpPr>
            <a:grpSpLocks/>
          </p:cNvGrpSpPr>
          <p:nvPr/>
        </p:nvGrpSpPr>
        <p:grpSpPr bwMode="auto">
          <a:xfrm>
            <a:off x="11134653" y="275357"/>
            <a:ext cx="752829" cy="156360"/>
            <a:chOff x="8003434" y="285750"/>
            <a:chExt cx="737341" cy="153245"/>
          </a:xfrm>
        </p:grpSpPr>
        <p:sp>
          <p:nvSpPr>
            <p:cNvPr id="1064" name="StickerRectangle">
              <a:extLst>
                <a:ext uri="{FF2B5EF4-FFF2-40B4-BE49-F238E27FC236}">
                  <a16:creationId xmlns:a16="http://schemas.microsoft.com/office/drawing/2014/main" id="{6BE976E9-2C95-464A-8084-39E6FC559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3434" y="285750"/>
              <a:ext cx="737341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chemeClr val="tx2"/>
                </a:buClr>
              </a:pPr>
              <a:r>
                <a:rPr lang="en-US" altLang="en-US" sz="816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5" name="AutoShape 31">
              <a:extLst>
                <a:ext uri="{FF2B5EF4-FFF2-40B4-BE49-F238E27FC236}">
                  <a16:creationId xmlns:a16="http://schemas.microsoft.com/office/drawing/2014/main" id="{B01E729F-2664-479D-868A-4F816AEBFC35}"/>
                </a:ext>
              </a:extLst>
            </p:cNvPr>
            <p:cNvCxnSpPr>
              <a:cxnSpLocks noChangeShapeType="1"/>
              <a:stCxn id="1064" idx="2"/>
              <a:endCxn id="1064" idx="4"/>
            </p:cNvCxnSpPr>
            <p:nvPr/>
          </p:nvCxnSpPr>
          <p:spPr bwMode="auto">
            <a:xfrm>
              <a:off x="8003434" y="285750"/>
              <a:ext cx="0" cy="15324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6" name="AutoShape 32">
              <a:extLst>
                <a:ext uri="{FF2B5EF4-FFF2-40B4-BE49-F238E27FC236}">
                  <a16:creationId xmlns:a16="http://schemas.microsoft.com/office/drawing/2014/main" id="{A95B6727-7725-4CB7-809B-DB4EA3534C1B}"/>
                </a:ext>
              </a:extLst>
            </p:cNvPr>
            <p:cNvCxnSpPr>
              <a:cxnSpLocks noChangeShapeType="1"/>
              <a:stCxn id="1064" idx="4"/>
              <a:endCxn id="1064" idx="6"/>
            </p:cNvCxnSpPr>
            <p:nvPr/>
          </p:nvCxnSpPr>
          <p:spPr bwMode="auto">
            <a:xfrm>
              <a:off x="8003434" y="438995"/>
              <a:ext cx="73734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1" name="LegendMoons" hidden="1">
            <a:extLst>
              <a:ext uri="{FF2B5EF4-FFF2-40B4-BE49-F238E27FC236}">
                <a16:creationId xmlns:a16="http://schemas.microsoft.com/office/drawing/2014/main" id="{F277F140-59A7-40E9-BD04-590283796528}"/>
              </a:ext>
            </a:extLst>
          </p:cNvPr>
          <p:cNvGrpSpPr>
            <a:grpSpLocks/>
          </p:cNvGrpSpPr>
          <p:nvPr/>
        </p:nvGrpSpPr>
        <p:grpSpPr bwMode="auto">
          <a:xfrm>
            <a:off x="11040344" y="275357"/>
            <a:ext cx="857057" cy="1333051"/>
            <a:chOff x="6655594" y="273840"/>
            <a:chExt cx="840152" cy="1306516"/>
          </a:xfrm>
        </p:grpSpPr>
        <p:grpSp>
          <p:nvGrpSpPr>
            <p:cNvPr id="1044" name="MoonLegend1">
              <a:extLst>
                <a:ext uri="{FF2B5EF4-FFF2-40B4-BE49-F238E27FC236}">
                  <a16:creationId xmlns:a16="http://schemas.microsoft.com/office/drawing/2014/main" id="{E6CCBFF3-C08B-4D57-B73C-1839FE02D119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>
                <a:extLst>
                  <a:ext uri="{FF2B5EF4-FFF2-40B4-BE49-F238E27FC236}">
                    <a16:creationId xmlns:a16="http://schemas.microsoft.com/office/drawing/2014/main" id="{585020E3-F9B7-449A-8076-9B4FD5D4484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>
                <a:extLst>
                  <a:ext uri="{FF2B5EF4-FFF2-40B4-BE49-F238E27FC236}">
                    <a16:creationId xmlns:a16="http://schemas.microsoft.com/office/drawing/2014/main" id="{5FDAF459-C946-4AC9-BEC1-452D1E4A5560}"/>
                  </a:ext>
                </a:extLst>
              </p:cNvPr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045" name="MoonLegend2">
              <a:extLst>
                <a:ext uri="{FF2B5EF4-FFF2-40B4-BE49-F238E27FC236}">
                  <a16:creationId xmlns:a16="http://schemas.microsoft.com/office/drawing/2014/main" id="{FA0360D6-2696-4290-B634-74366B1CDB08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>
                <a:extLst>
                  <a:ext uri="{FF2B5EF4-FFF2-40B4-BE49-F238E27FC236}">
                    <a16:creationId xmlns:a16="http://schemas.microsoft.com/office/drawing/2014/main" id="{8A2A3305-2385-4057-B894-6DADA1409C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>
                <a:extLst>
                  <a:ext uri="{FF2B5EF4-FFF2-40B4-BE49-F238E27FC236}">
                    <a16:creationId xmlns:a16="http://schemas.microsoft.com/office/drawing/2014/main" id="{C5172C4B-9B61-4088-8C29-57D4D3BC1DAC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046" name="MoonLegend4">
              <a:extLst>
                <a:ext uri="{FF2B5EF4-FFF2-40B4-BE49-F238E27FC236}">
                  <a16:creationId xmlns:a16="http://schemas.microsoft.com/office/drawing/2014/main" id="{5B3DAF11-48C4-41C1-8753-CED505E6AF31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>
                <a:extLst>
                  <a:ext uri="{FF2B5EF4-FFF2-40B4-BE49-F238E27FC236}">
                    <a16:creationId xmlns:a16="http://schemas.microsoft.com/office/drawing/2014/main" id="{BF24D8BD-56B0-4EB4-B28C-5E5E9796AC9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>
                <a:extLst>
                  <a:ext uri="{FF2B5EF4-FFF2-40B4-BE49-F238E27FC236}">
                    <a16:creationId xmlns:a16="http://schemas.microsoft.com/office/drawing/2014/main" id="{7BB933CA-0FC2-4FC5-9097-66BB8E223FDD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047" name="MoonLegend5">
              <a:extLst>
                <a:ext uri="{FF2B5EF4-FFF2-40B4-BE49-F238E27FC236}">
                  <a16:creationId xmlns:a16="http://schemas.microsoft.com/office/drawing/2014/main" id="{BB8E65B9-D3F0-40B3-8043-4463AC79C68D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>
                <a:extLst>
                  <a:ext uri="{FF2B5EF4-FFF2-40B4-BE49-F238E27FC236}">
                    <a16:creationId xmlns:a16="http://schemas.microsoft.com/office/drawing/2014/main" id="{7E1A63C3-27A3-4F2B-BCAE-0A6A998D31B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>
                <a:extLst>
                  <a:ext uri="{FF2B5EF4-FFF2-40B4-BE49-F238E27FC236}">
                    <a16:creationId xmlns:a16="http://schemas.microsoft.com/office/drawing/2014/main" id="{55782377-B10E-42A3-928A-551FA28B23B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sp>
          <p:nvSpPr>
            <p:cNvPr id="1048" name="Legend1">
              <a:extLst>
                <a:ext uri="{FF2B5EF4-FFF2-40B4-BE49-F238E27FC236}">
                  <a16:creationId xmlns:a16="http://schemas.microsoft.com/office/drawing/2014/main" id="{34067F7D-2FA5-430C-8BFA-B352FD6C2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49" name="Legend2">
              <a:extLst>
                <a:ext uri="{FF2B5EF4-FFF2-40B4-BE49-F238E27FC236}">
                  <a16:creationId xmlns:a16="http://schemas.microsoft.com/office/drawing/2014/main" id="{91263A63-37B2-45DA-8622-CA111EA49F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50" name="Legend3">
              <a:extLst>
                <a:ext uri="{FF2B5EF4-FFF2-40B4-BE49-F238E27FC236}">
                  <a16:creationId xmlns:a16="http://schemas.microsoft.com/office/drawing/2014/main" id="{E666264D-3341-4857-91CC-86491F83E9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51" name="Legend4">
              <a:extLst>
                <a:ext uri="{FF2B5EF4-FFF2-40B4-BE49-F238E27FC236}">
                  <a16:creationId xmlns:a16="http://schemas.microsoft.com/office/drawing/2014/main" id="{A89CA3F9-AA0E-46D5-B39D-95AFDA49AB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52" name="Legend5">
              <a:extLst>
                <a:ext uri="{FF2B5EF4-FFF2-40B4-BE49-F238E27FC236}">
                  <a16:creationId xmlns:a16="http://schemas.microsoft.com/office/drawing/2014/main" id="{59442534-1210-455A-B53F-30D7F26EB0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grpSp>
          <p:nvGrpSpPr>
            <p:cNvPr id="1053" name="MoonLegend3">
              <a:extLst>
                <a:ext uri="{FF2B5EF4-FFF2-40B4-BE49-F238E27FC236}">
                  <a16:creationId xmlns:a16="http://schemas.microsoft.com/office/drawing/2014/main" id="{DFDF1779-7804-43AE-A0DA-9FE4A514D86B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>
                <a:extLst>
                  <a:ext uri="{FF2B5EF4-FFF2-40B4-BE49-F238E27FC236}">
                    <a16:creationId xmlns:a16="http://schemas.microsoft.com/office/drawing/2014/main" id="{CDE09CEB-601D-4AD7-9C8D-C23C69DEB83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>
                <a:extLst>
                  <a:ext uri="{FF2B5EF4-FFF2-40B4-BE49-F238E27FC236}">
                    <a16:creationId xmlns:a16="http://schemas.microsoft.com/office/drawing/2014/main" id="{833C89E0-B0F6-45A7-8150-9FCDC848EF26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>
            <a:extLst>
              <a:ext uri="{FF2B5EF4-FFF2-40B4-BE49-F238E27FC236}">
                <a16:creationId xmlns:a16="http://schemas.microsoft.com/office/drawing/2014/main" id="{C3B8E163-6953-4D40-B73B-4504BD7146FF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0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16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043" name="Picture 606" descr="Image result for al futtaim logo">
            <a:extLst>
              <a:ext uri="{FF2B5EF4-FFF2-40B4-BE49-F238E27FC236}">
                <a16:creationId xmlns:a16="http://schemas.microsoft.com/office/drawing/2014/main" id="{E33057FF-F14D-4DDD-89BB-DCD4697AC1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3014" y="6634475"/>
            <a:ext cx="719177" cy="149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E1AE5E-DF85-C41F-884C-800B1A378B87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24450" y="6642100"/>
            <a:ext cx="19716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ed : General Al-Futtaim Group</a:t>
            </a:r>
          </a:p>
        </p:txBody>
      </p:sp>
    </p:spTree>
    <p:extLst>
      <p:ext uri="{BB962C8B-B14F-4D97-AF65-F5344CB8AC3E}">
        <p14:creationId xmlns:p14="http://schemas.microsoft.com/office/powerpoint/2010/main" val="687328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632">
          <a:solidFill>
            <a:schemeClr val="tx1"/>
          </a:solidFill>
          <a:latin typeface="+mn-lt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0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1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notesSlide" Target="../notesSlides/notesSlide11.xm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2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3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8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3" Type="http://schemas.openxmlformats.org/officeDocument/2006/relationships/notesSlide" Target="../notesSlides/notesSlide18.xml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9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0.xml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56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7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3.xml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58.xml"/><Relationship Id="rId4" Type="http://schemas.openxmlformats.org/officeDocument/2006/relationships/image" Target="../media/image1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59.xml"/><Relationship Id="rId4" Type="http://schemas.openxmlformats.org/officeDocument/2006/relationships/image" Target="../media/image1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60.xml"/><Relationship Id="rId4" Type="http://schemas.openxmlformats.org/officeDocument/2006/relationships/image" Target="../media/image1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61.xml"/><Relationship Id="rId4" Type="http://schemas.openxmlformats.org/officeDocument/2006/relationships/image" Target="../media/image1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62.xml"/><Relationship Id="rId4" Type="http://schemas.openxmlformats.org/officeDocument/2006/relationships/image" Target="../media/image1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63.xml"/><Relationship Id="rId4" Type="http://schemas.openxmlformats.org/officeDocument/2006/relationships/image" Target="../media/image2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64.xml"/><Relationship Id="rId4" Type="http://schemas.openxmlformats.org/officeDocument/2006/relationships/image" Target="../media/image2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65.xml"/><Relationship Id="rId4" Type="http://schemas.openxmlformats.org/officeDocument/2006/relationships/image" Target="../media/image2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66.xml"/><Relationship Id="rId4" Type="http://schemas.openxmlformats.org/officeDocument/2006/relationships/image" Target="../media/image21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32.png"/><Relationship Id="rId18" Type="http://schemas.openxmlformats.org/officeDocument/2006/relationships/image" Target="../media/image37.sv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17" Type="http://schemas.openxmlformats.org/officeDocument/2006/relationships/image" Target="../media/image36.png"/><Relationship Id="rId2" Type="http://schemas.openxmlformats.org/officeDocument/2006/relationships/notesSlide" Target="../notesSlides/notesSlide37.xml"/><Relationship Id="rId16" Type="http://schemas.openxmlformats.org/officeDocument/2006/relationships/image" Target="../media/image35.sv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sv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34.png"/><Relationship Id="rId3" Type="http://schemas.openxmlformats.org/officeDocument/2006/relationships/notesSlide" Target="../notesSlides/notesSlide38.xml"/><Relationship Id="rId7" Type="http://schemas.openxmlformats.org/officeDocument/2006/relationships/image" Target="../media/image26.png"/><Relationship Id="rId12" Type="http://schemas.openxmlformats.org/officeDocument/2006/relationships/image" Target="../media/image33.svg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37.svg"/><Relationship Id="rId1" Type="http://schemas.openxmlformats.org/officeDocument/2006/relationships/tags" Target="../tags/tag67.xml"/><Relationship Id="rId6" Type="http://schemas.openxmlformats.org/officeDocument/2006/relationships/image" Target="../media/image25.svg"/><Relationship Id="rId11" Type="http://schemas.openxmlformats.org/officeDocument/2006/relationships/image" Target="../media/image32.png"/><Relationship Id="rId5" Type="http://schemas.openxmlformats.org/officeDocument/2006/relationships/image" Target="../media/image24.png"/><Relationship Id="rId15" Type="http://schemas.openxmlformats.org/officeDocument/2006/relationships/image" Target="../media/image36.png"/><Relationship Id="rId10" Type="http://schemas.openxmlformats.org/officeDocument/2006/relationships/image" Target="../media/image29.sv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68.xml"/><Relationship Id="rId4" Type="http://schemas.openxmlformats.org/officeDocument/2006/relationships/image" Target="../media/image3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69.xml"/><Relationship Id="rId4" Type="http://schemas.openxmlformats.org/officeDocument/2006/relationships/image" Target="../media/image3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70.xml"/><Relationship Id="rId4" Type="http://schemas.openxmlformats.org/officeDocument/2006/relationships/image" Target="../media/image3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71.xml"/><Relationship Id="rId4" Type="http://schemas.openxmlformats.org/officeDocument/2006/relationships/image" Target="../media/image38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8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9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3097811-FFDF-0D94-F3F2-C77967D53A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748" y="1875367"/>
            <a:ext cx="11112502" cy="1821921"/>
          </a:xfrm>
        </p:spPr>
        <p:txBody>
          <a:bodyPr/>
          <a:lstStyle/>
          <a:p>
            <a:r>
              <a:rPr lang="en-US" dirty="0"/>
              <a:t>Sales Accreditation Summary Modules 1 &amp; 2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FFA44459-555F-305E-0924-F838831F6E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748" y="3970338"/>
            <a:ext cx="11112502" cy="942022"/>
          </a:xfrm>
        </p:spPr>
        <p:txBody>
          <a:bodyPr/>
          <a:lstStyle/>
          <a:p>
            <a:r>
              <a:rPr lang="en-US" dirty="0"/>
              <a:t>Al-Futtaim Automotive Talent Cent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8B54786-585B-286D-FDA5-658A362E34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9749" y="5858230"/>
            <a:ext cx="5556251" cy="184666"/>
          </a:xfrm>
        </p:spPr>
        <p:txBody>
          <a:bodyPr/>
          <a:lstStyle/>
          <a:p>
            <a:r>
              <a:rPr lang="en-US" dirty="0"/>
              <a:t>Date 12/09/2025</a:t>
            </a:r>
          </a:p>
        </p:txBody>
      </p:sp>
    </p:spTree>
    <p:extLst>
      <p:ext uri="{BB962C8B-B14F-4D97-AF65-F5344CB8AC3E}">
        <p14:creationId xmlns:p14="http://schemas.microsoft.com/office/powerpoint/2010/main" val="1987091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</a:rPr>
              <a:t>QUALITY RESPONSE - EMAI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49C12D8-58E0-9258-E3BA-D333E2D4F57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8413" b="26711"/>
          <a:stretch/>
        </p:blipFill>
        <p:spPr>
          <a:xfrm>
            <a:off x="415376" y="648157"/>
            <a:ext cx="10793689" cy="3268717"/>
          </a:xfrm>
          <a:prstGeom prst="rect">
            <a:avLst/>
          </a:prstGeom>
        </p:spPr>
      </p:pic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27086D11-8E07-8DCB-7152-7A694BC19367}"/>
              </a:ext>
            </a:extLst>
          </p:cNvPr>
          <p:cNvSpPr/>
          <p:nvPr/>
        </p:nvSpPr>
        <p:spPr>
          <a:xfrm>
            <a:off x="7388773" y="3996569"/>
            <a:ext cx="3394841" cy="2483197"/>
          </a:xfrm>
          <a:prstGeom prst="wedgeRoundRectCallout">
            <a:avLst>
              <a:gd name="adj1" fmla="val -66264"/>
              <a:gd name="adj2" fmla="val -45030"/>
              <a:gd name="adj3" fmla="val 16667"/>
            </a:avLst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899EC9"/>
            </a:solidFill>
            <a:prstDash val="solid"/>
          </a:ln>
          <a:effectLst/>
        </p:spPr>
        <p:txBody>
          <a:bodyPr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Answer and Ask Questions: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B6CB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ncode San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Answer all questions the customer might have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Ask for clarification if needed to ensure there is no confusion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Opportunity to ask qualifying questions if appropri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904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</a:rPr>
              <a:t>QUALITY RESPONSE - EMAI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43F853-241C-7DB8-034F-E9D6013D655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3289"/>
          <a:stretch/>
        </p:blipFill>
        <p:spPr>
          <a:xfrm>
            <a:off x="602538" y="1511387"/>
            <a:ext cx="11265612" cy="1660634"/>
          </a:xfrm>
          <a:prstGeom prst="rect">
            <a:avLst/>
          </a:prstGeom>
        </p:spPr>
      </p:pic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27086D11-8E07-8DCB-7152-7A694BC19367}"/>
              </a:ext>
            </a:extLst>
          </p:cNvPr>
          <p:cNvSpPr/>
          <p:nvPr/>
        </p:nvSpPr>
        <p:spPr>
          <a:xfrm>
            <a:off x="6096000" y="2671908"/>
            <a:ext cx="3823056" cy="2886075"/>
          </a:xfrm>
          <a:prstGeom prst="wedgeRoundRectCallout">
            <a:avLst>
              <a:gd name="adj1" fmla="val -67196"/>
              <a:gd name="adj2" fmla="val -42414"/>
              <a:gd name="adj3" fmla="val 16667"/>
            </a:avLst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899EC9"/>
            </a:solidFill>
            <a:prstDash val="solid"/>
          </a:ln>
          <a:effectLst/>
        </p:spPr>
        <p:txBody>
          <a:bodyPr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 (Headings)"/>
                <a:sym typeface="Encode Sans"/>
              </a:rPr>
              <a:t>Call to Action: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B6CB3"/>
              </a:solidFill>
              <a:effectLst/>
              <a:uLnTx/>
              <a:uFillTx/>
              <a:latin typeface="Arial (Headings)"/>
              <a:sym typeface="Encode San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 (Headings)"/>
                <a:sym typeface="Encode Sans"/>
              </a:rPr>
              <a:t>Offer the customer clear next step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 (Headings)"/>
                <a:sym typeface="Encode Sans"/>
              </a:rPr>
              <a:t>As</a:t>
            </a:r>
            <a:r>
              <a:rPr lang="en-US" sz="1400" kern="0">
                <a:solidFill>
                  <a:srgbClr val="1B6CB3"/>
                </a:solidFill>
                <a:latin typeface="Arial (Headings)"/>
                <a:sym typeface="Encode Sans"/>
              </a:rPr>
              <a:t>k for an appointment or a follow-up call as you see fit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 (Headings)"/>
                <a:sym typeface="Encode Sans"/>
              </a:rPr>
              <a:t>It is Important to highlight to the customer that you are flexible and here to support the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70827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EMAIL RESPONSE TEMPLATE </a:t>
            </a:r>
          </a:p>
          <a:p>
            <a:pPr lvl="0">
              <a:buClr>
                <a:srgbClr val="005BAA"/>
              </a:buClr>
              <a:defRPr/>
            </a:pPr>
            <a:endParaRPr lang="en-US" sz="2000" b="1" kern="0">
              <a:solidFill>
                <a:srgbClr val="005B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FEA72FEA-5D86-8189-6435-E30C1CFCA167}"/>
              </a:ext>
            </a:extLst>
          </p:cNvPr>
          <p:cNvGraphicFramePr/>
          <p:nvPr/>
        </p:nvGraphicFramePr>
        <p:xfrm>
          <a:off x="2296636" y="1120064"/>
          <a:ext cx="4954772" cy="47454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29D29D4B-F68C-7D7F-45BE-A316534C71D7}"/>
              </a:ext>
            </a:extLst>
          </p:cNvPr>
          <p:cNvGraphicFramePr/>
          <p:nvPr/>
        </p:nvGraphicFramePr>
        <p:xfrm>
          <a:off x="7449886" y="1120064"/>
          <a:ext cx="2208029" cy="47454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79986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PHON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C94EAE-C431-A0BA-D46A-FAA3C0F27FD3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rgbClr val="2938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174927EA-6D0A-8582-1A59-6850C2EA8CF8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Greet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DFFF6-6C42-A061-71D2-41991B728A8C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385FE4-BC89-EA2D-D305-40620321B00E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ata verific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1F9E0-E564-31AE-75A1-09E6136221B3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31B3DC3-91B7-DD17-DE12-192F82582672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onfirm appoint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E8A4AF-1D09-5C47-F0AD-196DC7E5A752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7A1648-161E-B6C8-06CC-672430079CF4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Build Rappor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8EC6EE-17BB-BB04-6EA2-BF2730C413FB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967A1D-4610-207C-DE84-FC50C2221C27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umma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262D0D-8592-EC3B-2470-302689D005F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682" r="24352" b="11111"/>
          <a:stretch/>
        </p:blipFill>
        <p:spPr>
          <a:xfrm>
            <a:off x="6289528" y="-1"/>
            <a:ext cx="5908823" cy="68665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05837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PHON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C94EAE-C431-A0BA-D46A-FAA3C0F27FD3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rgbClr val="2938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174927EA-6D0A-8582-1A59-6850C2EA8CF8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Greet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DFFF6-6C42-A061-71D2-41991B728A8C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385FE4-BC89-EA2D-D305-40620321B00E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ata verific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1F9E0-E564-31AE-75A1-09E6136221B3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31B3DC3-91B7-DD17-DE12-192F82582672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onfirm appoint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E8A4AF-1D09-5C47-F0AD-196DC7E5A752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7A1648-161E-B6C8-06CC-672430079CF4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Build rappor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8EC6EE-17BB-BB04-6EA2-BF2730C413FB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967A1D-4610-207C-DE84-FC50C2221C27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umma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0B5A49-06C3-DD7A-91C7-B8D9CF65EFB8}"/>
              </a:ext>
            </a:extLst>
          </p:cNvPr>
          <p:cNvSpPr/>
          <p:nvPr/>
        </p:nvSpPr>
        <p:spPr>
          <a:xfrm>
            <a:off x="6372670" y="1097135"/>
            <a:ext cx="3616271" cy="5306147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roduce yourself</a:t>
            </a:r>
            <a:b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Name, position, dealer name)</a:t>
            </a:r>
            <a:b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sk the customer if this is a suitable time to have the call</a:t>
            </a:r>
            <a:b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ummarize the reason for the call and show appreciation for the customer interest in the brand/deale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E7F59C8-2A97-1235-7BC2-B0ACBA3DFB80}"/>
              </a:ext>
            </a:extLst>
          </p:cNvPr>
          <p:cNvCxnSpPr>
            <a:cxnSpLocks/>
          </p:cNvCxnSpPr>
          <p:nvPr/>
        </p:nvCxnSpPr>
        <p:spPr>
          <a:xfrm>
            <a:off x="5798753" y="1615890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98090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PHON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C94EAE-C431-A0BA-D46A-FAA3C0F27FD3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174927EA-6D0A-8582-1A59-6850C2EA8CF8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Greet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DFFF6-6C42-A061-71D2-41991B728A8C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385FE4-BC89-EA2D-D305-40620321B00E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ata verific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1F9E0-E564-31AE-75A1-09E6136221B3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31B3DC3-91B7-DD17-DE12-192F82582672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onfirm appoint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E8A4AF-1D09-5C47-F0AD-196DC7E5A752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7A1648-161E-B6C8-06CC-672430079CF4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Build rappor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8EC6EE-17BB-BB04-6EA2-BF2730C413FB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967A1D-4610-207C-DE84-FC50C2221C27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umma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0B5A49-06C3-DD7A-91C7-B8D9CF65EFB8}"/>
              </a:ext>
            </a:extLst>
          </p:cNvPr>
          <p:cNvSpPr/>
          <p:nvPr/>
        </p:nvSpPr>
        <p:spPr>
          <a:xfrm>
            <a:off x="6372670" y="1097135"/>
            <a:ext cx="3616271" cy="5306147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Name, Address, Email, Phone No.</a:t>
            </a:r>
            <a:b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f applicable - car of Interest (Model + MY)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E7F59C8-2A97-1235-7BC2-B0ACBA3DFB80}"/>
              </a:ext>
            </a:extLst>
          </p:cNvPr>
          <p:cNvCxnSpPr>
            <a:cxnSpLocks/>
          </p:cNvCxnSpPr>
          <p:nvPr/>
        </p:nvCxnSpPr>
        <p:spPr>
          <a:xfrm>
            <a:off x="5813399" y="2700411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2495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PHON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C94EAE-C431-A0BA-D46A-FAA3C0F27FD3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174927EA-6D0A-8582-1A59-6850C2EA8CF8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Greet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DFFF6-6C42-A061-71D2-41991B728A8C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385FE4-BC89-EA2D-D305-40620321B00E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ata verific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1F9E0-E564-31AE-75A1-09E6136221B3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31B3DC3-91B7-DD17-DE12-192F82582672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onfirm appoint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E8A4AF-1D09-5C47-F0AD-196DC7E5A752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7A1648-161E-B6C8-06CC-672430079CF4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sz="1800" kern="0">
                <a:solidFill>
                  <a:schemeClr val="bg1"/>
                </a:solidFill>
                <a:latin typeface="Arial (Headings)"/>
                <a:cs typeface="Calibri"/>
              </a:rPr>
              <a:t>Build rapport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(Headings)"/>
              <a:ea typeface="+mj-ea"/>
              <a:cs typeface="Calibr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8EC6EE-17BB-BB04-6EA2-BF2730C413FB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967A1D-4610-207C-DE84-FC50C2221C27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umma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0B5A49-06C3-DD7A-91C7-B8D9CF65EFB8}"/>
              </a:ext>
            </a:extLst>
          </p:cNvPr>
          <p:cNvSpPr/>
          <p:nvPr/>
        </p:nvSpPr>
        <p:spPr>
          <a:xfrm>
            <a:off x="6372670" y="1097135"/>
            <a:ext cx="3616271" cy="5306147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firm that the pre-selected day and time for an appointment is correct. 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f there’s a need to change the date/time – be flexible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s it possible to do an at-home test driv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E7F59C8-2A97-1235-7BC2-B0ACBA3DFB80}"/>
              </a:ext>
            </a:extLst>
          </p:cNvPr>
          <p:cNvCxnSpPr>
            <a:cxnSpLocks/>
          </p:cNvCxnSpPr>
          <p:nvPr/>
        </p:nvCxnSpPr>
        <p:spPr>
          <a:xfrm>
            <a:off x="5813399" y="3731769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103689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PHON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C94EAE-C431-A0BA-D46A-FAA3C0F27FD3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174927EA-6D0A-8582-1A59-6850C2EA8CF8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Greet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DFFF6-6C42-A061-71D2-41991B728A8C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385FE4-BC89-EA2D-D305-40620321B00E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ata verific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1F9E0-E564-31AE-75A1-09E6136221B3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31B3DC3-91B7-DD17-DE12-192F82582672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onfirm appoint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E8A4AF-1D09-5C47-F0AD-196DC7E5A752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7A1648-161E-B6C8-06CC-672430079CF4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Build rappor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8EC6EE-17BB-BB04-6EA2-BF2730C413FB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967A1D-4610-207C-DE84-FC50C2221C27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umma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0B5A49-06C3-DD7A-91C7-B8D9CF65EFB8}"/>
              </a:ext>
            </a:extLst>
          </p:cNvPr>
          <p:cNvSpPr/>
          <p:nvPr/>
        </p:nvSpPr>
        <p:spPr>
          <a:xfrm>
            <a:off x="6372670" y="1097135"/>
            <a:ext cx="3616271" cy="5306147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nswer and/or address any additional questions that might come up. </a:t>
            </a:r>
          </a:p>
          <a:p>
            <a:pPr lvl="0">
              <a:buClr>
                <a:srgbClr val="000000"/>
              </a:buClr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When possible, keep it brief.</a:t>
            </a:r>
          </a:p>
          <a:p>
            <a:pPr lvl="0">
              <a:buClr>
                <a:srgbClr val="000000"/>
              </a:buClr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ake note on any additional information the customer might mention.</a:t>
            </a:r>
          </a:p>
          <a:p>
            <a:pPr>
              <a:buClr>
                <a:srgbClr val="000000"/>
              </a:buClr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o they need help with directions to the showroom</a:t>
            </a:r>
          </a:p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Who else might be joining them for the appointment</a:t>
            </a:r>
          </a:p>
          <a:p>
            <a:pPr marL="742950" lvl="1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742950" lvl="1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E7F59C8-2A97-1235-7BC2-B0ACBA3DFB80}"/>
              </a:ext>
            </a:extLst>
          </p:cNvPr>
          <p:cNvCxnSpPr>
            <a:cxnSpLocks/>
          </p:cNvCxnSpPr>
          <p:nvPr/>
        </p:nvCxnSpPr>
        <p:spPr>
          <a:xfrm>
            <a:off x="5813399" y="4858821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909412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PHON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C94EAE-C431-A0BA-D46A-FAA3C0F27FD3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174927EA-6D0A-8582-1A59-6850C2EA8CF8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Greet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DFFF6-6C42-A061-71D2-41991B728A8C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385FE4-BC89-EA2D-D305-40620321B00E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ata verific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1F9E0-E564-31AE-75A1-09E6136221B3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31B3DC3-91B7-DD17-DE12-192F82582672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onfirm appoint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E8A4AF-1D09-5C47-F0AD-196DC7E5A752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7A1648-161E-B6C8-06CC-672430079CF4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Build rappor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8EC6EE-17BB-BB04-6EA2-BF2730C413FB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967A1D-4610-207C-DE84-FC50C2221C27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umma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0B5A49-06C3-DD7A-91C7-B8D9CF65EFB8}"/>
              </a:ext>
            </a:extLst>
          </p:cNvPr>
          <p:cNvSpPr/>
          <p:nvPr/>
        </p:nvSpPr>
        <p:spPr>
          <a:xfrm>
            <a:off x="6372670" y="1097135"/>
            <a:ext cx="3616271" cy="5306147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ummarize all the agreements / booking / etc..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ank the customer again for his time and interest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llow-up with an email summar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E7F59C8-2A97-1235-7BC2-B0ACBA3DFB80}"/>
              </a:ext>
            </a:extLst>
          </p:cNvPr>
          <p:cNvCxnSpPr>
            <a:cxnSpLocks/>
          </p:cNvCxnSpPr>
          <p:nvPr/>
        </p:nvCxnSpPr>
        <p:spPr>
          <a:xfrm>
            <a:off x="5807468" y="5996504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12883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PHONE RESPONSE TEMPLATE </a:t>
            </a:r>
          </a:p>
          <a:p>
            <a:pPr lvl="0">
              <a:buClr>
                <a:srgbClr val="005BAA"/>
              </a:buClr>
              <a:defRPr/>
            </a:pPr>
            <a:endParaRPr lang="en-US" sz="2000" b="1" kern="0">
              <a:solidFill>
                <a:srgbClr val="005B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8DC1361-7561-77FE-A91D-20A8D5D0EE5B}"/>
              </a:ext>
            </a:extLst>
          </p:cNvPr>
          <p:cNvGraphicFramePr/>
          <p:nvPr/>
        </p:nvGraphicFramePr>
        <p:xfrm>
          <a:off x="2105401" y="1356655"/>
          <a:ext cx="4954772" cy="47454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B1885E6F-37AA-001B-EADD-E9F4A347DB5B}"/>
              </a:ext>
            </a:extLst>
          </p:cNvPr>
          <p:cNvGraphicFramePr/>
          <p:nvPr/>
        </p:nvGraphicFramePr>
        <p:xfrm>
          <a:off x="7258651" y="1356655"/>
          <a:ext cx="2208029" cy="47454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154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CTERISTICS OF THE LEAD RESPONSE</a:t>
            </a:r>
            <a:endParaRPr kumimoji="0" lang="en-US" sz="2000" b="1" i="0" u="none" strike="noStrike" kern="0" cap="none" spc="0" normalizeH="0" baseline="0" noProof="0">
              <a:ln>
                <a:noFill/>
              </a:ln>
              <a:solidFill>
                <a:srgbClr val="005BA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FD72262-8D1E-E1AD-48BB-16EDAE3AC928}"/>
              </a:ext>
            </a:extLst>
          </p:cNvPr>
          <p:cNvSpPr/>
          <p:nvPr/>
        </p:nvSpPr>
        <p:spPr>
          <a:xfrm>
            <a:off x="1402568" y="1673714"/>
            <a:ext cx="9386865" cy="1090962"/>
          </a:xfrm>
          <a:prstGeom prst="roundRect">
            <a:avLst/>
          </a:prstGeom>
          <a:solidFill>
            <a:srgbClr val="2437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Google Shape;244;p34">
            <a:extLst>
              <a:ext uri="{FF2B5EF4-FFF2-40B4-BE49-F238E27FC236}">
                <a16:creationId xmlns:a16="http://schemas.microsoft.com/office/drawing/2014/main" id="{D6B42459-36E5-462D-E09E-9B028A027EEF}"/>
              </a:ext>
            </a:extLst>
          </p:cNvPr>
          <p:cNvSpPr txBox="1">
            <a:spLocks/>
          </p:cNvSpPr>
          <p:nvPr/>
        </p:nvSpPr>
        <p:spPr>
          <a:xfrm>
            <a:off x="4440851" y="1837323"/>
            <a:ext cx="6163409" cy="7637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lvl="1" indent="0">
              <a:buSzPts val="1500"/>
              <a:buNone/>
            </a:pPr>
            <a:r>
              <a:rPr lang="en-US"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ed matters: Our response to leads MUST be timely.</a:t>
            </a:r>
          </a:p>
          <a:p>
            <a:pPr marL="0" lvl="1" indent="0">
              <a:buSzPts val="1500"/>
              <a:buNone/>
            </a:pPr>
            <a:r>
              <a:rPr lang="en-US"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 are looking for an almost instant response.</a:t>
            </a:r>
          </a:p>
        </p:txBody>
      </p:sp>
      <p:sp>
        <p:nvSpPr>
          <p:cNvPr id="10" name="Google Shape;244;p34">
            <a:extLst>
              <a:ext uri="{FF2B5EF4-FFF2-40B4-BE49-F238E27FC236}">
                <a16:creationId xmlns:a16="http://schemas.microsoft.com/office/drawing/2014/main" id="{A06C5430-AE31-43D4-AD00-2EFEFF355F5F}"/>
              </a:ext>
            </a:extLst>
          </p:cNvPr>
          <p:cNvSpPr txBox="1">
            <a:spLocks/>
          </p:cNvSpPr>
          <p:nvPr/>
        </p:nvSpPr>
        <p:spPr>
          <a:xfrm>
            <a:off x="1482361" y="1769009"/>
            <a:ext cx="2513841" cy="900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lvl="1" indent="0" algn="ctr">
              <a:buSzPts val="1500"/>
              <a:buFont typeface="Arial"/>
              <a:buNone/>
            </a:pPr>
            <a:r>
              <a:rPr 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 RESPONSE</a:t>
            </a:r>
          </a:p>
          <a:p>
            <a:pPr marL="0" lvl="1" indent="0" algn="ctr">
              <a:buSzPts val="1500"/>
              <a:buFont typeface="Arial"/>
              <a:buNone/>
            </a:pPr>
            <a:r>
              <a:rPr 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imely)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E906D8C-0F3C-E591-99B9-4B0C3EE8781F}"/>
              </a:ext>
            </a:extLst>
          </p:cNvPr>
          <p:cNvSpPr/>
          <p:nvPr/>
        </p:nvSpPr>
        <p:spPr>
          <a:xfrm>
            <a:off x="1402567" y="3107577"/>
            <a:ext cx="9386865" cy="1090962"/>
          </a:xfrm>
          <a:prstGeom prst="roundRect">
            <a:avLst/>
          </a:prstGeom>
          <a:solidFill>
            <a:srgbClr val="2437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Google Shape;244;p34">
            <a:extLst>
              <a:ext uri="{FF2B5EF4-FFF2-40B4-BE49-F238E27FC236}">
                <a16:creationId xmlns:a16="http://schemas.microsoft.com/office/drawing/2014/main" id="{2B5C83D3-F29D-CAC8-C05F-AFCEA5F2877E}"/>
              </a:ext>
            </a:extLst>
          </p:cNvPr>
          <p:cNvSpPr txBox="1">
            <a:spLocks/>
          </p:cNvSpPr>
          <p:nvPr/>
        </p:nvSpPr>
        <p:spPr>
          <a:xfrm>
            <a:off x="1794108" y="3210710"/>
            <a:ext cx="1890346" cy="763743"/>
          </a:xfrm>
          <a:prstGeom prst="rect">
            <a:avLst/>
          </a:prstGeom>
          <a:solidFill>
            <a:srgbClr val="24378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lvl="1" indent="0" algn="ctr">
              <a:buSzPts val="1500"/>
              <a:buFont typeface="Arial"/>
              <a:buNone/>
            </a:pPr>
            <a:r>
              <a:rPr 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</a:t>
            </a:r>
          </a:p>
          <a:p>
            <a:pPr marL="0" lvl="1" indent="0" algn="ctr">
              <a:buSzPts val="1500"/>
              <a:buNone/>
            </a:pPr>
            <a:r>
              <a:rPr 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ell planned)</a:t>
            </a:r>
          </a:p>
        </p:txBody>
      </p:sp>
      <p:sp>
        <p:nvSpPr>
          <p:cNvPr id="8" name="Google Shape;244;p34">
            <a:extLst>
              <a:ext uri="{FF2B5EF4-FFF2-40B4-BE49-F238E27FC236}">
                <a16:creationId xmlns:a16="http://schemas.microsoft.com/office/drawing/2014/main" id="{F954472F-40BC-E7BA-92D1-557511DF7F78}"/>
              </a:ext>
            </a:extLst>
          </p:cNvPr>
          <p:cNvSpPr txBox="1">
            <a:spLocks/>
          </p:cNvSpPr>
          <p:nvPr/>
        </p:nvSpPr>
        <p:spPr>
          <a:xfrm>
            <a:off x="4440852" y="3220217"/>
            <a:ext cx="6163409" cy="763743"/>
          </a:xfrm>
          <a:prstGeom prst="rect">
            <a:avLst/>
          </a:prstGeom>
          <a:solidFill>
            <a:srgbClr val="24378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lvl="1" indent="0">
              <a:buSzPts val="1500"/>
              <a:buNone/>
            </a:pPr>
            <a:r>
              <a:rPr lang="en-US"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quality response will create trust and make it easier to build a relationship with customers.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CC28BEC-2F8D-F2B3-4ECB-F58DDA23A969}"/>
              </a:ext>
            </a:extLst>
          </p:cNvPr>
          <p:cNvSpPr/>
          <p:nvPr/>
        </p:nvSpPr>
        <p:spPr>
          <a:xfrm>
            <a:off x="1402567" y="4531409"/>
            <a:ext cx="9386865" cy="1090962"/>
          </a:xfrm>
          <a:prstGeom prst="roundRect">
            <a:avLst/>
          </a:prstGeom>
          <a:solidFill>
            <a:srgbClr val="2437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6C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oogle Shape;244;p34">
            <a:extLst>
              <a:ext uri="{FF2B5EF4-FFF2-40B4-BE49-F238E27FC236}">
                <a16:creationId xmlns:a16="http://schemas.microsoft.com/office/drawing/2014/main" id="{44A14980-7E7F-314D-E451-2096A90A15BB}"/>
              </a:ext>
            </a:extLst>
          </p:cNvPr>
          <p:cNvSpPr txBox="1">
            <a:spLocks/>
          </p:cNvSpPr>
          <p:nvPr/>
        </p:nvSpPr>
        <p:spPr>
          <a:xfrm>
            <a:off x="1490299" y="4695018"/>
            <a:ext cx="2497964" cy="763743"/>
          </a:xfrm>
          <a:prstGeom prst="rect">
            <a:avLst/>
          </a:prstGeom>
          <a:solidFill>
            <a:srgbClr val="24378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lvl="1" indent="0" algn="ctr">
              <a:buSzPts val="1500"/>
              <a:buFont typeface="Arial"/>
              <a:buNone/>
            </a:pPr>
            <a:r>
              <a:rPr 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T</a:t>
            </a:r>
          </a:p>
          <a:p>
            <a:pPr marL="0" lvl="1" indent="0" algn="ctr">
              <a:buSzPts val="1500"/>
              <a:buNone/>
            </a:pPr>
            <a:r>
              <a:rPr 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ppointment)</a:t>
            </a:r>
          </a:p>
        </p:txBody>
      </p:sp>
      <p:sp>
        <p:nvSpPr>
          <p:cNvPr id="9" name="Google Shape;244;p34">
            <a:extLst>
              <a:ext uri="{FF2B5EF4-FFF2-40B4-BE49-F238E27FC236}">
                <a16:creationId xmlns:a16="http://schemas.microsoft.com/office/drawing/2014/main" id="{43B8355F-0527-AAB6-8B4A-65BBF5BFAED4}"/>
              </a:ext>
            </a:extLst>
          </p:cNvPr>
          <p:cNvSpPr txBox="1">
            <a:spLocks/>
          </p:cNvSpPr>
          <p:nvPr/>
        </p:nvSpPr>
        <p:spPr>
          <a:xfrm>
            <a:off x="4440851" y="4617142"/>
            <a:ext cx="6163409" cy="763743"/>
          </a:xfrm>
          <a:prstGeom prst="rect">
            <a:avLst/>
          </a:prstGeom>
          <a:solidFill>
            <a:srgbClr val="24378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lvl="1" indent="0">
              <a:buSzPts val="1500"/>
              <a:buNone/>
            </a:pPr>
            <a:r>
              <a:rPr lang="en-US"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ing clear calls to action and next steps for the customer will help guide them through the sales process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766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/>
      <p:bldP spid="10" grpId="0"/>
      <p:bldP spid="2" grpId="0" animBg="1"/>
      <p:bldP spid="11" grpId="0" animBg="1"/>
      <p:bldP spid="8" grpId="0" animBg="1"/>
      <p:bldP spid="13" grpId="0" animBg="1"/>
      <p:bldP spid="12" grpId="0" animBg="1"/>
      <p:bldP spid="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WHATSAPP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C94EAE-C431-A0BA-D46A-FAA3C0F27FD3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rgbClr val="2938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174927EA-6D0A-8582-1A59-6850C2EA8CF8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Timely Respons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DFFF6-6C42-A061-71D2-41991B728A8C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385FE4-BC89-EA2D-D305-40620321B00E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lear and Concise Inform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1F9E0-E564-31AE-75A1-09E6136221B3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31B3DC3-91B7-DD17-DE12-192F82582672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Visual Cont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E8A4AF-1D09-5C47-F0AD-196DC7E5A752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7A1648-161E-B6C8-06CC-672430079CF4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ersonaliz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8EC6EE-17BB-BB04-6EA2-BF2730C413FB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967A1D-4610-207C-DE84-FC50C2221C27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rivacy and Security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A874137-E00F-6900-B769-C7103BB9DD1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682" r="24352" b="11111"/>
          <a:stretch/>
        </p:blipFill>
        <p:spPr>
          <a:xfrm>
            <a:off x="6289528" y="-1"/>
            <a:ext cx="5908823" cy="68665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4492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WHATSAPP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0B5A49-06C3-DD7A-91C7-B8D9CF65EFB8}"/>
              </a:ext>
            </a:extLst>
          </p:cNvPr>
          <p:cNvSpPr/>
          <p:nvPr/>
        </p:nvSpPr>
        <p:spPr>
          <a:xfrm>
            <a:off x="6372670" y="1097135"/>
            <a:ext cx="3616271" cy="5306147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spond promptly to customer inquiries on WhatsApp. 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imely communication is crucial in the automotive sales process, as customers are often actively researching and considering their options. 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im to provide information and assistance in a timely manner to keep the customer engag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E7F59C8-2A97-1235-7BC2-B0ACBA3DFB80}"/>
              </a:ext>
            </a:extLst>
          </p:cNvPr>
          <p:cNvCxnSpPr>
            <a:cxnSpLocks/>
          </p:cNvCxnSpPr>
          <p:nvPr/>
        </p:nvCxnSpPr>
        <p:spPr>
          <a:xfrm>
            <a:off x="5798753" y="1615890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BA9E548-4A94-AC81-3886-13DEFD58FFAD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rgbClr val="2938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89D15E6-8B32-F0FD-F206-DD92A8BD55F0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Timely Respon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4188BE-4BA1-E7EC-4EE9-CEF425AADE02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0750B95-021F-0A2E-060A-8BB3626E97CC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lear and Concise Inform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3C991A-28AF-037F-EAE3-DD73CE08CEB9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9613590-FD12-FFE1-E10F-291F68E2EEF0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Visual Cont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8EF0AF-E3C0-BE06-8CF9-C1BF7A36AAC0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0DBA3F1-2578-6CCB-8D88-EB8A398427EC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ersonaliz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5C86AC3-D72A-D309-66F6-B4D7481A590E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63454BF-7507-9528-0EDD-BE06387FA768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rivacy and Securi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058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WHATSAPP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0B5A49-06C3-DD7A-91C7-B8D9CF65EFB8}"/>
              </a:ext>
            </a:extLst>
          </p:cNvPr>
          <p:cNvSpPr/>
          <p:nvPr/>
        </p:nvSpPr>
        <p:spPr>
          <a:xfrm>
            <a:off x="6372670" y="1097135"/>
            <a:ext cx="3616271" cy="5306147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void overwhelming the customer with unnecessary information 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nsure that the details provided are comprehensive enough to address their question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E7F59C8-2A97-1235-7BC2-B0ACBA3DFB80}"/>
              </a:ext>
            </a:extLst>
          </p:cNvPr>
          <p:cNvCxnSpPr>
            <a:cxnSpLocks/>
          </p:cNvCxnSpPr>
          <p:nvPr/>
        </p:nvCxnSpPr>
        <p:spPr>
          <a:xfrm>
            <a:off x="5813399" y="2700411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8E12D0D4-87D4-A623-89CE-AF244272013A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2F465B3-48F6-EF65-EF97-EA6CA3CD9A50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Timely Respon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754269B-0481-AF6D-8FA8-78313C71343C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DE1FC7E-F87E-1073-C58D-668ABE37A814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lear and Concise Inform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07EB88-7E57-F755-54AA-92C009A0D46F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0EEBCD4-847C-9816-EE95-D5C92AB26BA6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Visual Cont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68AB8DA-AF60-DF0F-262E-7EB5EDCEDFB2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C1E5A2C-D535-BAE7-DC0C-D8D05CFB87F6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ersonaliz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09D4D44-FEB0-3764-48B8-66129720D4B8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85EF636-FF4F-9301-A9F7-5198E5A76B05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rivacy and Securi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124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WHATSAPP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0B5A49-06C3-DD7A-91C7-B8D9CF65EFB8}"/>
              </a:ext>
            </a:extLst>
          </p:cNvPr>
          <p:cNvSpPr/>
          <p:nvPr/>
        </p:nvSpPr>
        <p:spPr>
          <a:xfrm>
            <a:off x="6372670" y="1097135"/>
            <a:ext cx="3616271" cy="5306147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Leverage the multimedia capabilities of WhatsApp by sharing photos and videos of the vehicle or dealership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isual content can significantly enhance the customer's understanding of the product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t can also create a more engaging and informative conversation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nsure that the visuals are high quality and showcase the key features of the vehic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E7F59C8-2A97-1235-7BC2-B0ACBA3DFB80}"/>
              </a:ext>
            </a:extLst>
          </p:cNvPr>
          <p:cNvCxnSpPr>
            <a:cxnSpLocks/>
          </p:cNvCxnSpPr>
          <p:nvPr/>
        </p:nvCxnSpPr>
        <p:spPr>
          <a:xfrm>
            <a:off x="5813399" y="3731769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E8987C7B-365C-3FCE-0B1F-976E53AA44E0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3ED0111-F91F-8AAA-DDBA-2EB577BE7A44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Timely Respon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A40C09-1428-9A9A-2C35-B882C93324E1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121B1F2-88C1-5D43-DBE0-C21E31A7571C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lear and Concise Inform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CC816CA-C1C2-8D66-3AE5-D95BF32BC20D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2DAF47-CD19-C219-17F5-E5E0F9C4D177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Visual Cont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0FD5B5-7271-6E32-20A4-33A88FDA1213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5419976-EA2B-D529-4E15-99D8A2FC6C4C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ersonaliz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505BA6-CBD5-54DE-C793-C760C7123A32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FD926574-4FF8-59D9-66EA-F3531313C3F9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rivacy and Securi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9195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WHATSAPP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0B5A49-06C3-DD7A-91C7-B8D9CF65EFB8}"/>
              </a:ext>
            </a:extLst>
          </p:cNvPr>
          <p:cNvSpPr/>
          <p:nvPr/>
        </p:nvSpPr>
        <p:spPr>
          <a:xfrm>
            <a:off x="6372670" y="1097135"/>
            <a:ext cx="3616271" cy="5306147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imilar to email, tailor your communication to the individual customer's needs and preferences 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sk qualifying questions if needed to better understand their specific wants and needs. 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is personalized approach helps build a stronger connection and increases the likelihood of a successful sa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E7F59C8-2A97-1235-7BC2-B0ACBA3DFB80}"/>
              </a:ext>
            </a:extLst>
          </p:cNvPr>
          <p:cNvCxnSpPr>
            <a:cxnSpLocks/>
          </p:cNvCxnSpPr>
          <p:nvPr/>
        </p:nvCxnSpPr>
        <p:spPr>
          <a:xfrm>
            <a:off x="5813399" y="4858821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BB483DBF-C71C-9DCB-A899-1AD5DD331A0D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3F40AB4-8C97-3ECE-2BC5-A340A378ACD1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Timely Respon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A1088B9-90A4-3621-0B35-FCDE41D19CAE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0A68585-FA17-9071-AF90-6FF945283F93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lear and Concise Inform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5063FF-8481-4F7B-B97A-7EB393837845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A2270EC-F08E-12E9-E2AF-6AE0FCAB0B8D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Visual Cont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893841-CA1E-2B30-5C18-8A298B21E8F3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032B7F1-E0D4-C63A-9184-154D60246806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ersonaliz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91FA47-ABFB-EA2B-D30D-654B13F2ADAD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9C46A7-1C83-7921-88D2-7037B45AD708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rivacy and Securi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2602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RESPONSE BY WHATSAPP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0B5A49-06C3-DD7A-91C7-B8D9CF65EFB8}"/>
              </a:ext>
            </a:extLst>
          </p:cNvPr>
          <p:cNvSpPr/>
          <p:nvPr/>
        </p:nvSpPr>
        <p:spPr>
          <a:xfrm>
            <a:off x="6372670" y="1097135"/>
            <a:ext cx="3616271" cy="5306147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spect customer privacy and adhere to data protection regulations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void sharing sensitive information unless necessary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f more confidential information or transactions are required, consider having those discussions in person or via a secure communication channel</a:t>
            </a:r>
          </a:p>
          <a:p>
            <a:pPr marL="285750" lvl="0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E7F59C8-2A97-1235-7BC2-B0ACBA3DFB80}"/>
              </a:ext>
            </a:extLst>
          </p:cNvPr>
          <p:cNvCxnSpPr>
            <a:cxnSpLocks/>
          </p:cNvCxnSpPr>
          <p:nvPr/>
        </p:nvCxnSpPr>
        <p:spPr>
          <a:xfrm>
            <a:off x="5807468" y="5996504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6A871EC0-253A-1ADC-22C0-AA4A1C4BFE74}"/>
              </a:ext>
            </a:extLst>
          </p:cNvPr>
          <p:cNvSpPr/>
          <p:nvPr/>
        </p:nvSpPr>
        <p:spPr>
          <a:xfrm>
            <a:off x="537576" y="1099319"/>
            <a:ext cx="5364897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999D3F8-CB7F-D600-D856-5075DC0AAFF0}"/>
              </a:ext>
            </a:extLst>
          </p:cNvPr>
          <p:cNvSpPr txBox="1">
            <a:spLocks/>
          </p:cNvSpPr>
          <p:nvPr/>
        </p:nvSpPr>
        <p:spPr bwMode="gray">
          <a:xfrm>
            <a:off x="537573" y="1417929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Timely Respon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1EC937-E7FC-8FF1-6A10-C89034319951}"/>
              </a:ext>
            </a:extLst>
          </p:cNvPr>
          <p:cNvSpPr/>
          <p:nvPr/>
        </p:nvSpPr>
        <p:spPr>
          <a:xfrm>
            <a:off x="537577" y="2185080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6BA9039-6825-E66F-1DF4-2A6092358292}"/>
              </a:ext>
            </a:extLst>
          </p:cNvPr>
          <p:cNvSpPr txBox="1">
            <a:spLocks/>
          </p:cNvSpPr>
          <p:nvPr/>
        </p:nvSpPr>
        <p:spPr bwMode="gray">
          <a:xfrm>
            <a:off x="537573" y="2503690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lear and Concise Inform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B7DDF5C-9BA0-CFD5-0435-22BC0C4F3AF2}"/>
              </a:ext>
            </a:extLst>
          </p:cNvPr>
          <p:cNvSpPr/>
          <p:nvPr/>
        </p:nvSpPr>
        <p:spPr>
          <a:xfrm>
            <a:off x="537576" y="3270841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4269FB-D882-BEF9-DE49-AFA5576EB6F5}"/>
              </a:ext>
            </a:extLst>
          </p:cNvPr>
          <p:cNvSpPr txBox="1">
            <a:spLocks/>
          </p:cNvSpPr>
          <p:nvPr/>
        </p:nvSpPr>
        <p:spPr bwMode="gray">
          <a:xfrm>
            <a:off x="537572" y="358945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Visual Cont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CA53285-D34C-1D88-0B31-9516389FBF73}"/>
              </a:ext>
            </a:extLst>
          </p:cNvPr>
          <p:cNvSpPr/>
          <p:nvPr/>
        </p:nvSpPr>
        <p:spPr>
          <a:xfrm>
            <a:off x="537575" y="4356602"/>
            <a:ext cx="5364895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0E832AE-9025-5644-00A2-F03DA3E385D3}"/>
              </a:ext>
            </a:extLst>
          </p:cNvPr>
          <p:cNvSpPr txBox="1">
            <a:spLocks/>
          </p:cNvSpPr>
          <p:nvPr/>
        </p:nvSpPr>
        <p:spPr bwMode="gray">
          <a:xfrm>
            <a:off x="537572" y="4675212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ersonaliz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D4D539B-BC03-EE15-7ED1-31F5655AE5D7}"/>
              </a:ext>
            </a:extLst>
          </p:cNvPr>
          <p:cNvSpPr/>
          <p:nvPr/>
        </p:nvSpPr>
        <p:spPr>
          <a:xfrm>
            <a:off x="537575" y="5489068"/>
            <a:ext cx="5364895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5750F17-F93D-9045-46D1-1959D5B7E1F7}"/>
              </a:ext>
            </a:extLst>
          </p:cNvPr>
          <p:cNvSpPr txBox="1">
            <a:spLocks/>
          </p:cNvSpPr>
          <p:nvPr/>
        </p:nvSpPr>
        <p:spPr bwMode="gray">
          <a:xfrm>
            <a:off x="537572" y="5807678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rivacy and Securi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929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1D54BC0-B1BD-4863-A9D4-24EEC2CDFEDC}"/>
              </a:ext>
            </a:extLst>
          </p:cNvPr>
          <p:cNvSpPr txBox="1">
            <a:spLocks/>
          </p:cNvSpPr>
          <p:nvPr/>
        </p:nvSpPr>
        <p:spPr bwMode="gray">
          <a:xfrm>
            <a:off x="526944" y="316696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R="0" lvl="0" indent="0" defTabSz="913526">
              <a:lnSpc>
                <a:spcPct val="100000"/>
              </a:lnSpc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sz="1800" b="1">
                <a:solidFill>
                  <a:srgbClr val="005BAA"/>
                </a:solidFill>
                <a:latin typeface="Arial (Headings)"/>
                <a:ea typeface="+mn-ea"/>
                <a:cs typeface="+mn-cs"/>
              </a:rPr>
              <a:t>QUALITY FOLLOW-U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8CBA29-4D1D-697E-CB9A-187BA2173DCC}"/>
              </a:ext>
            </a:extLst>
          </p:cNvPr>
          <p:cNvSpPr/>
          <p:nvPr/>
        </p:nvSpPr>
        <p:spPr>
          <a:xfrm>
            <a:off x="526944" y="2609850"/>
            <a:ext cx="7862055" cy="2914650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FCFBFA9-671E-5D32-89D9-98D27D6E610C}"/>
              </a:ext>
            </a:extLst>
          </p:cNvPr>
          <p:cNvSpPr/>
          <p:nvPr/>
        </p:nvSpPr>
        <p:spPr>
          <a:xfrm>
            <a:off x="526944" y="1652621"/>
            <a:ext cx="7862054" cy="692458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0753FD-A926-680E-C0E9-95F67109F994}"/>
              </a:ext>
            </a:extLst>
          </p:cNvPr>
          <p:cNvSpPr txBox="1"/>
          <p:nvPr/>
        </p:nvSpPr>
        <p:spPr>
          <a:xfrm>
            <a:off x="526943" y="1752930"/>
            <a:ext cx="7862053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Rememb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346F0B-96C1-BA37-ECE6-76367D788BA3}"/>
              </a:ext>
            </a:extLst>
          </p:cNvPr>
          <p:cNvSpPr txBox="1"/>
          <p:nvPr/>
        </p:nvSpPr>
        <p:spPr>
          <a:xfrm>
            <a:off x="789618" y="3561386"/>
            <a:ext cx="759937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chemeClr val="tx1">
                    <a:lumMod val="75000"/>
                    <a:lumOff val="25000"/>
                  </a:schemeClr>
                </a:solidFill>
                <a:latin typeface="Arial (Headings)"/>
                <a:cs typeface="Calibri"/>
              </a:rPr>
              <a:t>Communication becomes more effective, when we use customers preferred communication channel. </a:t>
            </a:r>
          </a:p>
          <a:p>
            <a:pPr lvl="0" defTabSz="913526">
              <a:tabLst>
                <a:tab pos="275353" algn="l"/>
              </a:tabLst>
              <a:defRPr/>
            </a:pPr>
            <a:endParaRPr lang="en-US" sz="1800" kern="0">
              <a:solidFill>
                <a:schemeClr val="tx1">
                  <a:lumMod val="75000"/>
                  <a:lumOff val="25000"/>
                </a:schemeClr>
              </a:solidFill>
              <a:latin typeface="Arial (Headings)"/>
              <a:cs typeface="Calibri"/>
            </a:endParaRPr>
          </a:p>
          <a:p>
            <a:pPr lvl="0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chemeClr val="tx1">
                    <a:lumMod val="75000"/>
                    <a:lumOff val="25000"/>
                  </a:schemeClr>
                </a:solidFill>
                <a:latin typeface="Arial (Headings)"/>
                <a:cs typeface="Calibri"/>
              </a:rPr>
              <a:t>Doing so will enhance customer satisfaction, fostering long-term relationships and loyalty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BC77C3-F527-BB94-FF2E-1655490A30A9}"/>
              </a:ext>
            </a:extLst>
          </p:cNvPr>
          <p:cNvSpPr txBox="1"/>
          <p:nvPr/>
        </p:nvSpPr>
        <p:spPr>
          <a:xfrm>
            <a:off x="1410709" y="2896505"/>
            <a:ext cx="60945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913526">
              <a:tabLst>
                <a:tab pos="275353" algn="l"/>
              </a:tabLst>
              <a:defRPr/>
            </a:pPr>
            <a:r>
              <a:rPr lang="en-US" sz="2000" b="1" kern="0">
                <a:solidFill>
                  <a:schemeClr val="tx1">
                    <a:lumMod val="75000"/>
                    <a:lumOff val="25000"/>
                  </a:schemeClr>
                </a:solidFill>
                <a:latin typeface="Arial (Headings)"/>
                <a:cs typeface="Calibri"/>
              </a:rPr>
              <a:t>Identify the preferred communication channel</a:t>
            </a:r>
          </a:p>
        </p:txBody>
      </p:sp>
      <p:pic>
        <p:nvPicPr>
          <p:cNvPr id="12" name="Graphic 11" descr="Lightbulb with solid fill">
            <a:extLst>
              <a:ext uri="{FF2B5EF4-FFF2-40B4-BE49-F238E27FC236}">
                <a16:creationId xmlns:a16="http://schemas.microsoft.com/office/drawing/2014/main" id="{B826301D-6BC1-B5E3-0DB0-12AF40FF94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98566" y="1652621"/>
            <a:ext cx="3871879" cy="38718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4830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A26EA346-254B-42BF-93F1-92194220A093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5749" y="238240"/>
            <a:ext cx="1288867" cy="39312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9D32CA9-AA91-4C8E-B677-CECAEA901B96}"/>
              </a:ext>
            </a:extLst>
          </p:cNvPr>
          <p:cNvSpPr txBox="1"/>
          <p:nvPr/>
        </p:nvSpPr>
        <p:spPr>
          <a:xfrm>
            <a:off x="323850" y="378224"/>
            <a:ext cx="5924266" cy="4887593"/>
          </a:xfrm>
          <a:prstGeom prst="rect">
            <a:avLst/>
          </a:prstGeom>
          <a:ln w="12700">
            <a:miter lim="400000"/>
          </a:ln>
        </p:spPr>
        <p:txBody>
          <a:bodyPr wrap="square" lIns="90000" tIns="46800" rIns="90000" bIns="46800">
            <a:noAutofit/>
          </a:bodyPr>
          <a:lstStyle>
            <a:lvl1pPr lvl="0" algn="just" defTabSz="914400">
              <a:lnSpc>
                <a:spcPct val="140000"/>
              </a:lnSpc>
              <a:defRPr sz="1200">
                <a:solidFill>
                  <a:schemeClr val="tx1"/>
                </a:solidFill>
                <a:latin typeface="Lato Light"/>
                <a:ea typeface="Lato Light"/>
                <a:cs typeface="Lato Light"/>
              </a:defRPr>
            </a:lvl1pPr>
          </a:lstStyle>
          <a:p>
            <a:pPr algn="l">
              <a:lnSpc>
                <a:spcPct val="100000"/>
              </a:lnSpc>
            </a:pPr>
            <a:endParaRPr lang="en-US" sz="1800" b="1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1B6CB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lcome the customer to the dealership in a professional and approachable manner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>
              <a:solidFill>
                <a:srgbClr val="1B6CB3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1B6CB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sure that the customer’s information is correct in C4C and updated if needed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>
              <a:solidFill>
                <a:srgbClr val="1B6CB3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1B6CB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fer refreshments if available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>
              <a:solidFill>
                <a:srgbClr val="1B6CB3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1B6CB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how them to either the showroom seating area, your desk, or products as appropriate</a:t>
            </a:r>
          </a:p>
          <a:p>
            <a:pPr algn="l">
              <a:lnSpc>
                <a:spcPct val="100000"/>
              </a:lnSpc>
            </a:pPr>
            <a:endParaRPr lang="en-US" sz="1800">
              <a:solidFill>
                <a:srgbClr val="1B6CB3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1B6CB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ive the customer your name and make sure you get theirs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>
              <a:solidFill>
                <a:srgbClr val="1B6CB3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1B6CB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ve notes prepared on what’s previously been discussed with the customer or any questions you might have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>
              <a:solidFill>
                <a:srgbClr val="1B6CB3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1B6CB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fer help and advice as required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Open Sans Regular" charset="0"/>
              <a:cs typeface="Arial" panose="020B0604020202020204" pitchFamily="34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1B6CB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ild rapport with the customer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E216241-59C0-3922-B80B-398CE239B549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 (Headings)"/>
              </a:rPr>
              <a:t>THE FIRST MEET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1CE739-3F1A-7372-F21D-42A0424FA78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286" b="1980"/>
          <a:stretch/>
        </p:blipFill>
        <p:spPr>
          <a:xfrm>
            <a:off x="7414811" y="0"/>
            <a:ext cx="4810334" cy="6876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9401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E577F0E-06EA-4C40-895A-EE98DC07250E}"/>
              </a:ext>
            </a:extLst>
          </p:cNvPr>
          <p:cNvSpPr txBox="1"/>
          <p:nvPr/>
        </p:nvSpPr>
        <p:spPr>
          <a:xfrm>
            <a:off x="323850" y="756449"/>
            <a:ext cx="5449996" cy="58580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sure your message is relevant and appeal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stablish common g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ound enthused and interest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peak their langua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main professional throughout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 calm and relax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>
                <a:solidFill>
                  <a:srgbClr val="1B6C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k Open Questions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B6CB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ist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 conscious of body langua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>
                <a:solidFill>
                  <a:srgbClr val="1B6C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rror your customer’s body language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B6CB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propriate eye contact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mile!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se their name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B6CB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AABAB1-7EB9-34D3-B6BF-EA7FA7F4CA57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 (Headings)"/>
              </a:rPr>
              <a:t>WHAT IS RAPPORT</a:t>
            </a:r>
          </a:p>
        </p:txBody>
      </p:sp>
      <p:pic>
        <p:nvPicPr>
          <p:cNvPr id="4" name="Picture 2" descr="First European Polestar 2 customer car delivered">
            <a:extLst>
              <a:ext uri="{FF2B5EF4-FFF2-40B4-BE49-F238E27FC236}">
                <a16:creationId xmlns:a16="http://schemas.microsoft.com/office/drawing/2014/main" id="{ECDBB649-6867-6054-B82C-FA5D3D0252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90" r="17625" b="6794"/>
          <a:stretch/>
        </p:blipFill>
        <p:spPr bwMode="auto">
          <a:xfrm>
            <a:off x="6548245" y="0"/>
            <a:ext cx="5654398" cy="656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372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051" y="0"/>
            <a:ext cx="6014985" cy="1463538"/>
          </a:xfrm>
        </p:spPr>
        <p:txBody>
          <a:bodyPr/>
          <a:lstStyle/>
          <a:p>
            <a:pPr>
              <a:defRPr/>
            </a:pPr>
            <a:r>
              <a:rPr lang="en-US" sz="2000" b="1">
                <a:solidFill>
                  <a:srgbClr val="005BAA"/>
                </a:solidFill>
                <a:latin typeface="Arial (Headings)"/>
                <a:cs typeface="Calibri"/>
              </a:rPr>
              <a:t>WHY IS GREETING CRITICAL IN THE FIRST MEETING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9D32CA9-AA91-4C8E-B677-CECAEA901B96}"/>
              </a:ext>
            </a:extLst>
          </p:cNvPr>
          <p:cNvSpPr txBox="1"/>
          <p:nvPr/>
        </p:nvSpPr>
        <p:spPr>
          <a:xfrm>
            <a:off x="476250" y="1463538"/>
            <a:ext cx="4959381" cy="2738593"/>
          </a:xfrm>
          <a:prstGeom prst="rect">
            <a:avLst/>
          </a:prstGeom>
          <a:ln w="12700">
            <a:miter lim="400000"/>
          </a:ln>
        </p:spPr>
        <p:txBody>
          <a:bodyPr wrap="square" lIns="90000" tIns="46800" rIns="90000" bIns="46800" anchor="t">
            <a:noAutofit/>
          </a:bodyPr>
          <a:lstStyle>
            <a:lvl1pPr lvl="0" algn="just" defTabSz="914400">
              <a:lnSpc>
                <a:spcPct val="140000"/>
              </a:lnSpc>
              <a:defRPr sz="1200">
                <a:solidFill>
                  <a:schemeClr val="tx1"/>
                </a:solidFill>
                <a:latin typeface="Lato Light"/>
                <a:ea typeface="Lato Light"/>
                <a:cs typeface="Lato Light"/>
              </a:defRPr>
            </a:lvl1pPr>
          </a:lstStyle>
          <a:p>
            <a:pPr marL="285750" lvl="0" indent="-285750" algn="l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5BAA"/>
              </a:solidFill>
              <a:latin typeface="Arial MT"/>
              <a:ea typeface="+mj-ea"/>
              <a:cs typeface="Calibri"/>
            </a:endParaRPr>
          </a:p>
          <a:p>
            <a:pPr marL="285750" lvl="0" indent="-285750" algn="l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5BAA"/>
                </a:solidFill>
                <a:latin typeface="Arial MT"/>
                <a:ea typeface="+mj-ea"/>
                <a:cs typeface="Calibri"/>
              </a:rPr>
              <a:t>First Impression Lasts</a:t>
            </a:r>
          </a:p>
          <a:p>
            <a:pPr marL="285750" lvl="0" indent="-285750" algn="l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5BAA"/>
              </a:solidFill>
              <a:latin typeface="Arial MT"/>
              <a:ea typeface="+mj-ea"/>
              <a:cs typeface="Calibri"/>
            </a:endParaRPr>
          </a:p>
          <a:p>
            <a:pPr marL="285750" lvl="0" indent="-285750" algn="l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5BAA"/>
                </a:solidFill>
                <a:latin typeface="Arial MT"/>
                <a:ea typeface="+mj-ea"/>
                <a:cs typeface="Calibri"/>
              </a:rPr>
              <a:t>You are Selling yourself, your dealership, the experience and lastly the car</a:t>
            </a:r>
          </a:p>
          <a:p>
            <a:pPr marL="285750" lvl="0" indent="-285750" algn="l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5BAA"/>
              </a:solidFill>
              <a:latin typeface="Arial MT"/>
              <a:ea typeface="+mj-ea"/>
              <a:cs typeface="Calibri"/>
            </a:endParaRPr>
          </a:p>
          <a:p>
            <a:pPr marL="285750" lvl="0" indent="-285750" algn="l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5BAA"/>
                </a:solidFill>
                <a:latin typeface="Arial MT"/>
                <a:ea typeface="+mj-ea"/>
                <a:cs typeface="Calibri"/>
              </a:rPr>
              <a:t>You want to get the customer comfortable</a:t>
            </a:r>
          </a:p>
          <a:p>
            <a:pPr marL="285750" lvl="0" indent="-285750" algn="l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5BAA"/>
              </a:solidFill>
              <a:latin typeface="Arial MT"/>
              <a:ea typeface="+mj-ea"/>
              <a:cs typeface="Calibri"/>
            </a:endParaRPr>
          </a:p>
          <a:p>
            <a:pPr marL="285750" lvl="0" indent="-285750" algn="l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5BAA"/>
                </a:solidFill>
                <a:latin typeface="Arial MT"/>
                <a:ea typeface="+mj-ea"/>
                <a:cs typeface="Calibri"/>
              </a:rPr>
              <a:t>Building Trust &amp; Rapport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BF0155CF-A287-FEB3-F740-D7057D111825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US" sz="2800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BF0155CF-A287-FEB3-F740-D7057D111825}"/>
              </a:ext>
            </a:extLst>
          </p:cNvPr>
          <p:cNvSpPr txBox="1">
            <a:spLocks/>
          </p:cNvSpPr>
          <p:nvPr/>
        </p:nvSpPr>
        <p:spPr>
          <a:xfrm>
            <a:off x="1059053" y="340387"/>
            <a:ext cx="11544300" cy="38047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US" sz="28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F25CBA-9B7F-3598-91E7-1650D1066FA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286" b="1980"/>
          <a:stretch/>
        </p:blipFill>
        <p:spPr>
          <a:xfrm>
            <a:off x="7414811" y="0"/>
            <a:ext cx="4810334" cy="6876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794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1B6C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RIBUTES OF QUALITY RESPONS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9217049-5D19-DCC5-FDE2-87878CF77F3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312"/>
          <a:stretch/>
        </p:blipFill>
        <p:spPr>
          <a:xfrm>
            <a:off x="6286052" y="0"/>
            <a:ext cx="5905948" cy="6858000"/>
          </a:xfrm>
          <a:prstGeom prst="rect">
            <a:avLst/>
          </a:prstGeom>
          <a:effectLst/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3633423-A93B-BEF9-A51A-42A0CA06F772}"/>
              </a:ext>
            </a:extLst>
          </p:cNvPr>
          <p:cNvSpPr/>
          <p:nvPr/>
        </p:nvSpPr>
        <p:spPr>
          <a:xfrm>
            <a:off x="526944" y="1886128"/>
            <a:ext cx="5364897" cy="914221"/>
          </a:xfrm>
          <a:prstGeom prst="rect">
            <a:avLst/>
          </a:prstGeom>
          <a:solidFill>
            <a:srgbClr val="2938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4C61E61-C268-EFD0-ED89-3768235BE13B}"/>
              </a:ext>
            </a:extLst>
          </p:cNvPr>
          <p:cNvSpPr txBox="1">
            <a:spLocks/>
          </p:cNvSpPr>
          <p:nvPr/>
        </p:nvSpPr>
        <p:spPr bwMode="gray">
          <a:xfrm>
            <a:off x="526941" y="2204738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hoose the right mode of respons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4B8DF0-7940-CAF2-BDC1-76D35FD6FFA8}"/>
              </a:ext>
            </a:extLst>
          </p:cNvPr>
          <p:cNvSpPr/>
          <p:nvPr/>
        </p:nvSpPr>
        <p:spPr>
          <a:xfrm>
            <a:off x="526945" y="2971889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C5D2824-B884-E78E-E8AF-2DE9E3D5DB1F}"/>
              </a:ext>
            </a:extLst>
          </p:cNvPr>
          <p:cNvSpPr txBox="1">
            <a:spLocks/>
          </p:cNvSpPr>
          <p:nvPr/>
        </p:nvSpPr>
        <p:spPr bwMode="gray">
          <a:xfrm>
            <a:off x="526941" y="3290499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Quick repl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817FBC-4129-0C39-2408-80B0EA6B833A}"/>
              </a:ext>
            </a:extLst>
          </p:cNvPr>
          <p:cNvSpPr/>
          <p:nvPr/>
        </p:nvSpPr>
        <p:spPr>
          <a:xfrm>
            <a:off x="526944" y="4057650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0F9442A-72A7-A123-E7F3-0F21E59ED81F}"/>
              </a:ext>
            </a:extLst>
          </p:cNvPr>
          <p:cNvSpPr txBox="1">
            <a:spLocks/>
          </p:cNvSpPr>
          <p:nvPr/>
        </p:nvSpPr>
        <p:spPr bwMode="gray">
          <a:xfrm>
            <a:off x="526940" y="4376260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ersonalized &amp; uniqu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561814C-6A0B-8338-6B98-7A75672BF2C6}"/>
              </a:ext>
            </a:extLst>
          </p:cNvPr>
          <p:cNvSpPr/>
          <p:nvPr/>
        </p:nvSpPr>
        <p:spPr>
          <a:xfrm>
            <a:off x="526943" y="5143411"/>
            <a:ext cx="5364895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3573FF3-E6E2-A996-8BB5-58398EF5038B}"/>
              </a:ext>
            </a:extLst>
          </p:cNvPr>
          <p:cNvSpPr txBox="1">
            <a:spLocks/>
          </p:cNvSpPr>
          <p:nvPr/>
        </p:nvSpPr>
        <p:spPr bwMode="gray">
          <a:xfrm>
            <a:off x="526940" y="546202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tart a convers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154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855338" y="2066239"/>
            <a:ext cx="131997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Professional Appearan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740979" y="3195903"/>
            <a:ext cx="143433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Introduction stat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657231" y="4218600"/>
            <a:ext cx="172336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Summarize the previous cal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693681" y="5288597"/>
            <a:ext cx="163961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Manage Expect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Personal hygiene 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Outfit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Smile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Body Language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1" y="2326306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D1D53C0-CC2C-A6BF-BE00-DBBFA6D3ED3A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GREETING MADE EASY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5BAA"/>
              </a:solidFill>
              <a:effectLst/>
              <a:uLnTx/>
              <a:uFillTx/>
              <a:latin typeface="Arial (Headings)"/>
              <a:ea typeface="+mj-ea"/>
              <a:cs typeface="+mj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F105CF3-D94C-F659-3172-F8DBA36B179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286" b="1980"/>
          <a:stretch/>
        </p:blipFill>
        <p:spPr>
          <a:xfrm>
            <a:off x="7567449" y="1634093"/>
            <a:ext cx="3197304" cy="45707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6685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11" grpId="0" animBg="1"/>
      <p:bldP spid="13" grpId="0" animBg="1"/>
      <p:bldP spid="15" grpId="0" animBg="1"/>
      <p:bldP spid="1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855338" y="2066239"/>
            <a:ext cx="131997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Professional Appearan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740979" y="3195903"/>
            <a:ext cx="143433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Introduction stat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657231" y="4218600"/>
            <a:ext cx="172336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Summarize the previous cal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693681" y="5288597"/>
            <a:ext cx="163961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Manage Expect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1969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Thank the customer for their interest in your product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Introduce yourself (Name and Job title)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Don’t forget your smi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1" y="3351072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D1D53C0-CC2C-A6BF-BE00-DBBFA6D3ED3A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GREETING MADE EASY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5BAA"/>
              </a:solidFill>
              <a:effectLst/>
              <a:uLnTx/>
              <a:uFillTx/>
              <a:latin typeface="Arial (Headings)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1CA56E8-D2BE-7C7A-7054-4AA1D470661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286" b="1980"/>
          <a:stretch/>
        </p:blipFill>
        <p:spPr>
          <a:xfrm>
            <a:off x="7567449" y="1634093"/>
            <a:ext cx="3197304" cy="45707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57957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855338" y="2066239"/>
            <a:ext cx="131997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Professional Appearan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740979" y="3195903"/>
            <a:ext cx="143433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Introduction stat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657231" y="4218600"/>
            <a:ext cx="172336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Summarize the previous cal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693681" y="5288597"/>
            <a:ext cx="163961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Manage Expect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Summarize what you agreed on during your previous call (Model of Interest, Current Vehicle, etc.)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1" y="4486194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D1D53C0-CC2C-A6BF-BE00-DBBFA6D3ED3A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GREETING MADE EASY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5BAA"/>
              </a:solidFill>
              <a:effectLst/>
              <a:uLnTx/>
              <a:uFillTx/>
              <a:latin typeface="Arial (Headings)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F996244-2494-3ED8-4BF9-EC4F63C98AB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286" b="1980"/>
          <a:stretch/>
        </p:blipFill>
        <p:spPr>
          <a:xfrm>
            <a:off x="7567449" y="1634093"/>
            <a:ext cx="3197304" cy="45707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71744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855338" y="2066239"/>
            <a:ext cx="131997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Professional Appearan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740979" y="3195903"/>
            <a:ext cx="143433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Introduction stat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657231" y="4218600"/>
            <a:ext cx="172336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Summarize the previous cal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693681" y="5288597"/>
            <a:ext cx="163961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Manage Expect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Briefly describe to your customer what is going to happen (the process that you will take him/her through)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1" y="5605547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D1D53C0-CC2C-A6BF-BE00-DBBFA6D3ED3A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GREETING MADE EASY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5BAA"/>
              </a:solidFill>
              <a:effectLst/>
              <a:uLnTx/>
              <a:uFillTx/>
              <a:latin typeface="Arial (Headings)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D5DC03E-0891-2C1B-71AF-8B5F21AC953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286" b="1980"/>
          <a:stretch/>
        </p:blipFill>
        <p:spPr>
          <a:xfrm>
            <a:off x="7567449" y="1634093"/>
            <a:ext cx="3197304" cy="45707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87970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468985" y="756449"/>
            <a:ext cx="5127658" cy="3803690"/>
          </a:xfrm>
          <a:prstGeom prst="rect">
            <a:avLst/>
          </a:prstGeom>
          <a:noFill/>
        </p:spPr>
        <p:txBody>
          <a:bodyPr wrap="square" lIns="90000" tIns="46800" rIns="90000" rtlCol="0">
            <a:noAutofit/>
          </a:bodyPr>
          <a:lstStyle/>
          <a:p>
            <a:endParaRPr lang="en-US" sz="21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Open Sans Regular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1B6CB3"/>
                </a:solidFill>
                <a:latin typeface="Arial" panose="020B0604020202020204" pitchFamily="34" charset="0"/>
                <a:ea typeface="Open Sans Regular" charset="0"/>
                <a:cs typeface="Arial" panose="020B0604020202020204" pitchFamily="34" charset="0"/>
              </a:rPr>
              <a:t>Personalized, tailored to that customer’s needs and intere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solidFill>
                <a:srgbClr val="1B6CB3"/>
              </a:solidFill>
              <a:latin typeface="Arial" panose="020B0604020202020204" pitchFamily="34" charset="0"/>
              <a:ea typeface="Open Sans Regular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1B6CB3"/>
                </a:solidFill>
                <a:latin typeface="Arial" panose="020B0604020202020204" pitchFamily="34" charset="0"/>
                <a:ea typeface="Open Sans Regular" charset="0"/>
                <a:cs typeface="Arial" panose="020B0604020202020204" pitchFamily="34" charset="0"/>
              </a:rPr>
              <a:t>Attentive, listening, exploring p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solidFill>
                <a:srgbClr val="1B6CB3"/>
              </a:solidFill>
              <a:latin typeface="Arial" panose="020B0604020202020204" pitchFamily="34" charset="0"/>
              <a:ea typeface="Open Sans Regular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1B6CB3"/>
                </a:solidFill>
                <a:latin typeface="Arial" panose="020B0604020202020204" pitchFamily="34" charset="0"/>
                <a:ea typeface="Open Sans Regular" charset="0"/>
                <a:cs typeface="Arial" panose="020B0604020202020204" pitchFamily="34" charset="0"/>
              </a:rPr>
              <a:t>Detailed with thoughtful touch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solidFill>
                <a:srgbClr val="1B6CB3"/>
              </a:solidFill>
              <a:latin typeface="Arial" panose="020B0604020202020204" pitchFamily="34" charset="0"/>
              <a:ea typeface="Open Sans Regular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1B6CB3"/>
                </a:solidFill>
                <a:latin typeface="Arial" panose="020B0604020202020204" pitchFamily="34" charset="0"/>
                <a:ea typeface="Open Sans Regular" charset="0"/>
                <a:cs typeface="Arial" panose="020B0604020202020204" pitchFamily="34" charset="0"/>
              </a:rPr>
              <a:t>Consultative, relationship-bas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solidFill>
                <a:srgbClr val="1B6CB3"/>
              </a:solidFill>
              <a:latin typeface="Arial" panose="020B0604020202020204" pitchFamily="34" charset="0"/>
              <a:ea typeface="Open Sans Regular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1B6CB3"/>
                </a:solidFill>
                <a:latin typeface="Arial" panose="020B0604020202020204" pitchFamily="34" charset="0"/>
                <a:ea typeface="Open Sans Regular" charset="0"/>
                <a:cs typeface="Arial" panose="020B0604020202020204" pitchFamily="34" charset="0"/>
              </a:rPr>
              <a:t>Endures over ti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solidFill>
                <a:srgbClr val="1B6CB3"/>
              </a:solidFill>
              <a:latin typeface="Arial" panose="020B0604020202020204" pitchFamily="34" charset="0"/>
              <a:ea typeface="Open Sans Regular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1B6CB3"/>
                </a:solidFill>
                <a:latin typeface="Arial" panose="020B0604020202020204" pitchFamily="34" charset="0"/>
                <a:ea typeface="Open Sans Regular" charset="0"/>
                <a:cs typeface="Arial" panose="020B0604020202020204" pitchFamily="34" charset="0"/>
              </a:rPr>
              <a:t>Transparent, honest, credible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1E4D4E59-B21E-A8B3-9109-DF347FA2D396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 (Headings)"/>
              </a:rPr>
              <a:t>WHAT DEFINES EXCEPTIONAL EXPERIENC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CDDBBB-9D44-F998-0F99-BD4DAD5034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286" b="1980"/>
          <a:stretch/>
        </p:blipFill>
        <p:spPr>
          <a:xfrm>
            <a:off x="7414811" y="0"/>
            <a:ext cx="4810334" cy="6876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1035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1D54BC0-B1BD-4863-A9D4-24EEC2CDFEDC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QUALITY NEEDS ASSESSMEN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2E1D52B-C45C-E863-A083-9DDE9EB11EC8}"/>
              </a:ext>
            </a:extLst>
          </p:cNvPr>
          <p:cNvSpPr txBox="1">
            <a:spLocks/>
          </p:cNvSpPr>
          <p:nvPr/>
        </p:nvSpPr>
        <p:spPr bwMode="gray">
          <a:xfrm>
            <a:off x="467020" y="1617024"/>
            <a:ext cx="5729648" cy="2492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lnSpc>
                <a:spcPct val="150000"/>
              </a:lnSpc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5BAA"/>
                </a:solidFill>
                <a:latin typeface="Arial MT"/>
                <a:cs typeface="Calibri"/>
              </a:rPr>
              <a:t>What should be your main goal from the customer discovery process?</a:t>
            </a:r>
          </a:p>
          <a:p>
            <a:pPr lvl="0" defTabSz="913526">
              <a:lnSpc>
                <a:spcPct val="150000"/>
              </a:lnSpc>
              <a:tabLst>
                <a:tab pos="275353" algn="l"/>
              </a:tabLst>
              <a:defRPr/>
            </a:pPr>
            <a:endParaRPr lang="en-US" sz="1800" kern="0">
              <a:solidFill>
                <a:srgbClr val="005BAA"/>
              </a:solidFill>
              <a:latin typeface="Arial MT"/>
              <a:cs typeface="Calibri"/>
            </a:endParaRPr>
          </a:p>
          <a:p>
            <a:pPr marL="285750" lvl="0" indent="-285750" defTabSz="913526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5BAA"/>
                </a:solidFill>
                <a:latin typeface="Arial MT"/>
                <a:cs typeface="Calibri"/>
              </a:rPr>
              <a:t>Collect as much information as possible</a:t>
            </a:r>
          </a:p>
          <a:p>
            <a:pPr marL="285750" lvl="0" indent="-285750" defTabSz="913526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5BAA"/>
                </a:solidFill>
                <a:latin typeface="Arial MT"/>
                <a:cs typeface="Calibri"/>
              </a:rPr>
              <a:t>Customer MUST feel they are being listened to</a:t>
            </a:r>
          </a:p>
          <a:p>
            <a:pPr lvl="0" defTabSz="913526">
              <a:lnSpc>
                <a:spcPct val="150000"/>
              </a:lnSpc>
              <a:tabLst>
                <a:tab pos="275353" algn="l"/>
              </a:tabLst>
              <a:defRPr/>
            </a:pPr>
            <a:endParaRPr lang="en-US" sz="1800" i="1" kern="0">
              <a:solidFill>
                <a:srgbClr val="005BAA"/>
              </a:solidFill>
              <a:latin typeface="Arial MT"/>
              <a:cs typeface="Calibri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8012FBA-ADB0-0E66-901B-2A5128A752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907"/>
          <a:stretch/>
        </p:blipFill>
        <p:spPr>
          <a:xfrm>
            <a:off x="6415645" y="-1"/>
            <a:ext cx="5776355" cy="6858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1497562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693681" y="5288597"/>
            <a:ext cx="163961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Manage Expect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1" y="2468209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D1D53C0-CC2C-A6BF-BE00-DBBFA6D3ED3A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QUALITY NEEDS ASSESSMENT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012532"/>
            <a:ext cx="3044931" cy="181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Determine where customer is at in the buying process through questions and conversation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Understand and clarify customer research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492568" y="1949364"/>
            <a:ext cx="2092503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nfirm &amp; Clarify Customer</a:t>
            </a:r>
          </a:p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 Research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673573" y="3161994"/>
            <a:ext cx="165846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nduct Needs Analysis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714634" y="4237761"/>
            <a:ext cx="164836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nfirm Vehicle Sele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99773E-F0FD-AA03-16E8-8F12CD3E0AE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907"/>
          <a:stretch/>
        </p:blipFill>
        <p:spPr>
          <a:xfrm>
            <a:off x="7503328" y="1632857"/>
            <a:ext cx="3974037" cy="47181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79437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11" grpId="0" animBg="1"/>
      <p:bldP spid="15" grpId="0" animBg="1"/>
      <p:bldP spid="20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693681" y="5288597"/>
            <a:ext cx="163961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Manage Expect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1" y="3382616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D1D53C0-CC2C-A6BF-BE00-DBBFA6D3ED3A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QUALITY NEEDS ASSESSMENT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337309" y="2088162"/>
            <a:ext cx="3330680" cy="2092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Utilize resources to assist customers in defining which vehicles, features or options they are interested in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Understand and clarify customer’s primary buyer motiv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492568" y="1949364"/>
            <a:ext cx="2092503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nfirm &amp; Clarify Customer</a:t>
            </a:r>
          </a:p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 Research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673573" y="3161994"/>
            <a:ext cx="165846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nduct Needs Analysis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714634" y="4237761"/>
            <a:ext cx="164836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nfirm Vehicle Selec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90B3498-6FB5-F88C-B112-CA4221C619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907"/>
          <a:stretch/>
        </p:blipFill>
        <p:spPr>
          <a:xfrm>
            <a:off x="7503328" y="1632857"/>
            <a:ext cx="3974037" cy="47181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05626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0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693681" y="5288597"/>
            <a:ext cx="163961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Manage Expect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1" y="4517736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D1D53C0-CC2C-A6BF-BE00-DBBFA6D3ED3A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QUALITY NEEDS ASSESSMENT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362814" y="2080004"/>
            <a:ext cx="3044931" cy="2800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Review customer needs and wants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Provide vehicle recommendation based on information provided by the customer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Confirm vehicle availability and/or make alternate recommendation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492568" y="1949364"/>
            <a:ext cx="2092503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nfirm &amp; Clarify Customer</a:t>
            </a:r>
          </a:p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 Research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673573" y="3161994"/>
            <a:ext cx="165846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nduct Needs Analysis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714634" y="4237761"/>
            <a:ext cx="164836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nfirm Vehicle Selec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6002FA-A107-958C-4C2B-B806980A92D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907"/>
          <a:stretch/>
        </p:blipFill>
        <p:spPr>
          <a:xfrm>
            <a:off x="7503328" y="1632857"/>
            <a:ext cx="3974037" cy="47181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12639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0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>
            <a:extLst>
              <a:ext uri="{FF2B5EF4-FFF2-40B4-BE49-F238E27FC236}">
                <a16:creationId xmlns:a16="http://schemas.microsoft.com/office/drawing/2014/main" id="{F621B190-1940-28BA-3EDC-5C30E571FA89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2" name="Picture 1" descr="image">
              <a:extLst>
                <a:ext uri="{FF2B5EF4-FFF2-40B4-BE49-F238E27FC236}">
                  <a16:creationId xmlns:a16="http://schemas.microsoft.com/office/drawing/2014/main" id="{E5C53B1C-3D06-1F06-37AA-14FDA3AF92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2192000" cy="68580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4DEE7B6-C242-63BF-A077-82246FBAF64E}"/>
                </a:ext>
              </a:extLst>
            </p:cNvPr>
            <p:cNvSpPr/>
            <p:nvPr/>
          </p:nvSpPr>
          <p:spPr>
            <a:xfrm>
              <a:off x="0" y="2769833"/>
              <a:ext cx="12192000" cy="4088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AE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BA99E717-73C5-14BC-B69A-8573F6DB2BC9}"/>
              </a:ext>
            </a:extLst>
          </p:cNvPr>
          <p:cNvSpPr txBox="1">
            <a:spLocks/>
          </p:cNvSpPr>
          <p:nvPr/>
        </p:nvSpPr>
        <p:spPr>
          <a:xfrm>
            <a:off x="335280" y="4259918"/>
            <a:ext cx="1152144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526" fontAlgn="base">
              <a:lnSpc>
                <a:spcPct val="100000"/>
              </a:lnSpc>
              <a:spcAft>
                <a:spcPct val="0"/>
              </a:spcAft>
              <a:tabLst>
                <a:tab pos="275353" algn="l"/>
              </a:tabLst>
              <a:defRPr/>
            </a:pPr>
            <a:r>
              <a:rPr lang="en-US" sz="3600" b="1">
                <a:solidFill>
                  <a:srgbClr val="243782"/>
                </a:solidFill>
                <a:latin typeface="Arial (Headings)"/>
                <a:ea typeface="+mn-ea"/>
                <a:cs typeface="+mn-cs"/>
              </a:rPr>
              <a:t>SPECIT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5FE652A-B44F-504D-1AFA-88030D092555}"/>
              </a:ext>
            </a:extLst>
          </p:cNvPr>
          <p:cNvGrpSpPr/>
          <p:nvPr/>
        </p:nvGrpSpPr>
        <p:grpSpPr>
          <a:xfrm>
            <a:off x="3168355" y="4981508"/>
            <a:ext cx="5855289" cy="569633"/>
            <a:chOff x="2636908" y="4768340"/>
            <a:chExt cx="5855289" cy="569633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9DBA8BE-47D4-BF59-58F2-3F92A73E751A}"/>
                </a:ext>
              </a:extLst>
            </p:cNvPr>
            <p:cNvGrpSpPr/>
            <p:nvPr/>
          </p:nvGrpSpPr>
          <p:grpSpPr>
            <a:xfrm>
              <a:off x="2636908" y="4779168"/>
              <a:ext cx="549087" cy="556640"/>
              <a:chOff x="612884" y="1053600"/>
              <a:chExt cx="549087" cy="556640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4941D7B5-D640-8918-81A8-CB58C500A95E}"/>
                  </a:ext>
                </a:extLst>
              </p:cNvPr>
              <p:cNvGrpSpPr/>
              <p:nvPr/>
            </p:nvGrpSpPr>
            <p:grpSpPr>
              <a:xfrm>
                <a:off x="612884" y="1053600"/>
                <a:ext cx="549087" cy="556640"/>
                <a:chOff x="612888" y="1011276"/>
                <a:chExt cx="549087" cy="556640"/>
              </a:xfrm>
            </p:grpSpPr>
            <p:pic>
              <p:nvPicPr>
                <p:cNvPr id="8" name="Picture 7" descr="C:\Users\aschwartzenberger\Documents\ATS\CHRYSLER INTERNATIONAL\Chrysler PRGs\ICONS\safety.png">
                  <a:extLst>
                    <a:ext uri="{FF2B5EF4-FFF2-40B4-BE49-F238E27FC236}">
                      <a16:creationId xmlns:a16="http://schemas.microsoft.com/office/drawing/2014/main" id="{5EE1A7C7-2C71-EF68-92A9-D9EEC7EB4C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rgbClr val="24378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2888" y="1011276"/>
                  <a:ext cx="549087" cy="556640"/>
                </a:xfrm>
                <a:prstGeom prst="rect">
                  <a:avLst/>
                </a:prstGeom>
                <a:noFill/>
              </p:spPr>
            </p:pic>
            <p:sp>
              <p:nvSpPr>
                <p:cNvPr id="9" name="Oval 8">
                  <a:extLst>
                    <a:ext uri="{FF2B5EF4-FFF2-40B4-BE49-F238E27FC236}">
                      <a16:creationId xmlns:a16="http://schemas.microsoft.com/office/drawing/2014/main" id="{1159C1DE-115D-F46D-063B-E60DD5D2CF2B}"/>
                    </a:ext>
                  </a:extLst>
                </p:cNvPr>
                <p:cNvSpPr/>
                <p:nvPr/>
              </p:nvSpPr>
              <p:spPr>
                <a:xfrm>
                  <a:off x="654757" y="1068681"/>
                  <a:ext cx="470369" cy="433569"/>
                </a:xfrm>
                <a:prstGeom prst="ellipse">
                  <a:avLst/>
                </a:prstGeom>
                <a:solidFill>
                  <a:srgbClr val="29387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ar-AE" err="1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7" name="Graphic 6" descr="Seat Belt with solid fill">
                <a:extLst>
                  <a:ext uri="{FF2B5EF4-FFF2-40B4-BE49-F238E27FC236}">
                    <a16:creationId xmlns:a16="http://schemas.microsoft.com/office/drawing/2014/main" id="{1C7DA189-FC9C-B411-3ADE-3FC3A648C8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705021" y="1136511"/>
                <a:ext cx="379279" cy="379279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250DFC5-BBC2-5C98-0954-ECD8D0AE81ED}"/>
                </a:ext>
              </a:extLst>
            </p:cNvPr>
            <p:cNvGrpSpPr/>
            <p:nvPr/>
          </p:nvGrpSpPr>
          <p:grpSpPr>
            <a:xfrm>
              <a:off x="3521275" y="4773398"/>
              <a:ext cx="549087" cy="556640"/>
              <a:chOff x="612886" y="1833844"/>
              <a:chExt cx="549087" cy="556640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3B4196F6-400E-20FF-CB99-DB33BA21861A}"/>
                  </a:ext>
                </a:extLst>
              </p:cNvPr>
              <p:cNvGrpSpPr/>
              <p:nvPr/>
            </p:nvGrpSpPr>
            <p:grpSpPr>
              <a:xfrm>
                <a:off x="612886" y="1833844"/>
                <a:ext cx="549087" cy="556640"/>
                <a:chOff x="612888" y="1011276"/>
                <a:chExt cx="549087" cy="556640"/>
              </a:xfrm>
            </p:grpSpPr>
            <p:pic>
              <p:nvPicPr>
                <p:cNvPr id="13" name="Picture 12" descr="C:\Users\aschwartzenberger\Documents\ATS\CHRYSLER INTERNATIONAL\Chrysler PRGs\ICONS\safety.png">
                  <a:extLst>
                    <a:ext uri="{FF2B5EF4-FFF2-40B4-BE49-F238E27FC236}">
                      <a16:creationId xmlns:a16="http://schemas.microsoft.com/office/drawing/2014/main" id="{BBA9CBFF-C7CA-661A-AB0C-3E95D75B5F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rgbClr val="24378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2888" y="1011276"/>
                  <a:ext cx="549087" cy="556640"/>
                </a:xfrm>
                <a:prstGeom prst="rect">
                  <a:avLst/>
                </a:prstGeom>
                <a:noFill/>
              </p:spPr>
            </p:pic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2DD7E25F-2135-72BC-132E-F69A333439B9}"/>
                    </a:ext>
                  </a:extLst>
                </p:cNvPr>
                <p:cNvSpPr/>
                <p:nvPr/>
              </p:nvSpPr>
              <p:spPr>
                <a:xfrm>
                  <a:off x="654757" y="1068681"/>
                  <a:ext cx="470369" cy="433569"/>
                </a:xfrm>
                <a:prstGeom prst="ellipse">
                  <a:avLst/>
                </a:prstGeom>
                <a:solidFill>
                  <a:srgbClr val="29387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ar-AE" err="1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12" name="Graphic 11" descr="Gauge with solid fill">
                <a:extLst>
                  <a:ext uri="{FF2B5EF4-FFF2-40B4-BE49-F238E27FC236}">
                    <a16:creationId xmlns:a16="http://schemas.microsoft.com/office/drawing/2014/main" id="{CCFF363E-4A28-5E1A-1060-F60763FF62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694738" y="1885524"/>
                <a:ext cx="397951" cy="397951"/>
              </a:xfrm>
              <a:prstGeom prst="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87339B7-EAD3-79BD-8D8F-6320AAD4424B}"/>
                </a:ext>
              </a:extLst>
            </p:cNvPr>
            <p:cNvGrpSpPr/>
            <p:nvPr/>
          </p:nvGrpSpPr>
          <p:grpSpPr>
            <a:xfrm>
              <a:off x="4405642" y="4773398"/>
              <a:ext cx="549087" cy="556640"/>
              <a:chOff x="612884" y="2614077"/>
              <a:chExt cx="549087" cy="556640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2E15C6FA-5FC0-56C1-8C04-03AA7C3A9925}"/>
                  </a:ext>
                </a:extLst>
              </p:cNvPr>
              <p:cNvGrpSpPr/>
              <p:nvPr/>
            </p:nvGrpSpPr>
            <p:grpSpPr>
              <a:xfrm>
                <a:off x="612884" y="2614077"/>
                <a:ext cx="549087" cy="556640"/>
                <a:chOff x="612888" y="1011276"/>
                <a:chExt cx="549087" cy="556640"/>
              </a:xfrm>
            </p:grpSpPr>
            <p:pic>
              <p:nvPicPr>
                <p:cNvPr id="18" name="Picture 17" descr="C:\Users\aschwartzenberger\Documents\ATS\CHRYSLER INTERNATIONAL\Chrysler PRGs\ICONS\safety.png">
                  <a:extLst>
                    <a:ext uri="{FF2B5EF4-FFF2-40B4-BE49-F238E27FC236}">
                      <a16:creationId xmlns:a16="http://schemas.microsoft.com/office/drawing/2014/main" id="{703FDA9D-4A96-4E5A-A649-77E0886F8E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rgbClr val="24378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2888" y="1011276"/>
                  <a:ext cx="549087" cy="556640"/>
                </a:xfrm>
                <a:prstGeom prst="rect">
                  <a:avLst/>
                </a:prstGeom>
                <a:noFill/>
              </p:spPr>
            </p:pic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524AFF24-277D-4970-A333-8930D8DEEB89}"/>
                    </a:ext>
                  </a:extLst>
                </p:cNvPr>
                <p:cNvSpPr/>
                <p:nvPr/>
              </p:nvSpPr>
              <p:spPr>
                <a:xfrm>
                  <a:off x="654757" y="1068681"/>
                  <a:ext cx="470369" cy="433569"/>
                </a:xfrm>
                <a:prstGeom prst="ellipse">
                  <a:avLst/>
                </a:prstGeom>
                <a:solidFill>
                  <a:srgbClr val="29387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ar-AE" err="1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17" name="Graphic 16" descr="Money with solid fill">
                <a:extLst>
                  <a:ext uri="{FF2B5EF4-FFF2-40B4-BE49-F238E27FC236}">
                    <a16:creationId xmlns:a16="http://schemas.microsoft.com/office/drawing/2014/main" id="{5F5344FD-5644-5735-6DC9-5E334CE4D5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94738" y="2679871"/>
                <a:ext cx="379067" cy="379067"/>
              </a:xfrm>
              <a:prstGeom prst="rect">
                <a:avLst/>
              </a:prstGeom>
            </p:spPr>
          </p:pic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5546603-5B77-FB48-F0C6-A37F9FF3DD98}"/>
                </a:ext>
              </a:extLst>
            </p:cNvPr>
            <p:cNvGrpSpPr/>
            <p:nvPr/>
          </p:nvGrpSpPr>
          <p:grpSpPr>
            <a:xfrm>
              <a:off x="5290009" y="4774660"/>
              <a:ext cx="549087" cy="556640"/>
              <a:chOff x="612884" y="3394316"/>
              <a:chExt cx="549087" cy="55664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359DF70B-C47C-EADB-8633-1D0FC9A68A98}"/>
                  </a:ext>
                </a:extLst>
              </p:cNvPr>
              <p:cNvGrpSpPr/>
              <p:nvPr/>
            </p:nvGrpSpPr>
            <p:grpSpPr>
              <a:xfrm>
                <a:off x="612884" y="3394316"/>
                <a:ext cx="549087" cy="556640"/>
                <a:chOff x="612888" y="1011276"/>
                <a:chExt cx="549087" cy="556640"/>
              </a:xfrm>
            </p:grpSpPr>
            <p:pic>
              <p:nvPicPr>
                <p:cNvPr id="23" name="Picture 22" descr="C:\Users\aschwartzenberger\Documents\ATS\CHRYSLER INTERNATIONAL\Chrysler PRGs\ICONS\safety.png">
                  <a:extLst>
                    <a:ext uri="{FF2B5EF4-FFF2-40B4-BE49-F238E27FC236}">
                      <a16:creationId xmlns:a16="http://schemas.microsoft.com/office/drawing/2014/main" id="{F8E42FE6-3BED-E2AD-F0CA-5F2323AC08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rgbClr val="24378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2888" y="1011276"/>
                  <a:ext cx="549087" cy="556640"/>
                </a:xfrm>
                <a:prstGeom prst="rect">
                  <a:avLst/>
                </a:prstGeom>
                <a:noFill/>
              </p:spPr>
            </p:pic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CCB3F722-3B3A-FA2C-0C0D-28267A1C0BA3}"/>
                    </a:ext>
                  </a:extLst>
                </p:cNvPr>
                <p:cNvSpPr/>
                <p:nvPr/>
              </p:nvSpPr>
              <p:spPr>
                <a:xfrm>
                  <a:off x="654757" y="1068681"/>
                  <a:ext cx="470369" cy="433569"/>
                </a:xfrm>
                <a:prstGeom prst="ellipse">
                  <a:avLst/>
                </a:prstGeom>
                <a:solidFill>
                  <a:srgbClr val="29387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ar-AE" err="1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22" name="Graphic 21" descr="Open hand with plant with solid fill">
                <a:extLst>
                  <a:ext uri="{FF2B5EF4-FFF2-40B4-BE49-F238E27FC236}">
                    <a16:creationId xmlns:a16="http://schemas.microsoft.com/office/drawing/2014/main" id="{D234E326-7B89-1D9C-2C64-D082CCED2E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97054" y="3468499"/>
                <a:ext cx="395635" cy="395635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A6CCBD2-60B7-B8C0-773E-48D131754A90}"/>
                </a:ext>
              </a:extLst>
            </p:cNvPr>
            <p:cNvGrpSpPr/>
            <p:nvPr/>
          </p:nvGrpSpPr>
          <p:grpSpPr>
            <a:xfrm>
              <a:off x="6174376" y="4781333"/>
              <a:ext cx="549087" cy="556640"/>
              <a:chOff x="617610" y="4174560"/>
              <a:chExt cx="549087" cy="556640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1E6239A-E25E-B7D2-CFBB-D727A49FBAC9}"/>
                  </a:ext>
                </a:extLst>
              </p:cNvPr>
              <p:cNvGrpSpPr/>
              <p:nvPr/>
            </p:nvGrpSpPr>
            <p:grpSpPr>
              <a:xfrm>
                <a:off x="617610" y="4174560"/>
                <a:ext cx="549087" cy="556640"/>
                <a:chOff x="612888" y="1011276"/>
                <a:chExt cx="549087" cy="556640"/>
              </a:xfrm>
            </p:grpSpPr>
            <p:pic>
              <p:nvPicPr>
                <p:cNvPr id="28" name="Picture 27" descr="C:\Users\aschwartzenberger\Documents\ATS\CHRYSLER INTERNATIONAL\Chrysler PRGs\ICONS\safety.png">
                  <a:extLst>
                    <a:ext uri="{FF2B5EF4-FFF2-40B4-BE49-F238E27FC236}">
                      <a16:creationId xmlns:a16="http://schemas.microsoft.com/office/drawing/2014/main" id="{704CCD67-0B2C-D17D-A028-0875F0D0F8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rgbClr val="24378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2888" y="1011276"/>
                  <a:ext cx="549087" cy="556640"/>
                </a:xfrm>
                <a:prstGeom prst="rect">
                  <a:avLst/>
                </a:prstGeom>
                <a:noFill/>
              </p:spPr>
            </p:pic>
            <p:sp>
              <p:nvSpPr>
                <p:cNvPr id="29" name="Oval 28">
                  <a:extLst>
                    <a:ext uri="{FF2B5EF4-FFF2-40B4-BE49-F238E27FC236}">
                      <a16:creationId xmlns:a16="http://schemas.microsoft.com/office/drawing/2014/main" id="{86F2EE65-68B0-9618-E841-18D2FC674789}"/>
                    </a:ext>
                  </a:extLst>
                </p:cNvPr>
                <p:cNvSpPr/>
                <p:nvPr/>
              </p:nvSpPr>
              <p:spPr>
                <a:xfrm>
                  <a:off x="654757" y="1068681"/>
                  <a:ext cx="470369" cy="433569"/>
                </a:xfrm>
                <a:prstGeom prst="ellipse">
                  <a:avLst/>
                </a:prstGeom>
                <a:solidFill>
                  <a:srgbClr val="29387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ar-AE" err="1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27" name="Graphic 26" descr="Thumbs up sign with solid fill">
                <a:extLst>
                  <a:ext uri="{FF2B5EF4-FFF2-40B4-BE49-F238E27FC236}">
                    <a16:creationId xmlns:a16="http://schemas.microsoft.com/office/drawing/2014/main" id="{8D97BED6-BB32-AEDE-4F3D-0792736890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32306" y="4276946"/>
                <a:ext cx="343605" cy="343605"/>
              </a:xfrm>
              <a:prstGeom prst="rect">
                <a:avLst/>
              </a:prstGeom>
            </p:spPr>
          </p:pic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7A2B05B-D6A0-D8A5-F10C-56AC0E3C7BF8}"/>
                </a:ext>
              </a:extLst>
            </p:cNvPr>
            <p:cNvGrpSpPr/>
            <p:nvPr/>
          </p:nvGrpSpPr>
          <p:grpSpPr>
            <a:xfrm>
              <a:off x="7058743" y="4775037"/>
              <a:ext cx="549087" cy="556640"/>
              <a:chOff x="617608" y="4954793"/>
              <a:chExt cx="549087" cy="556640"/>
            </a:xfrm>
          </p:grpSpPr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A243B27A-C20C-F7CB-74EA-95C3D3844D1C}"/>
                  </a:ext>
                </a:extLst>
              </p:cNvPr>
              <p:cNvGrpSpPr/>
              <p:nvPr/>
            </p:nvGrpSpPr>
            <p:grpSpPr>
              <a:xfrm>
                <a:off x="617608" y="4954793"/>
                <a:ext cx="549087" cy="556640"/>
                <a:chOff x="612888" y="1011276"/>
                <a:chExt cx="549087" cy="556640"/>
              </a:xfrm>
            </p:grpSpPr>
            <p:pic>
              <p:nvPicPr>
                <p:cNvPr id="33" name="Picture 32" descr="C:\Users\aschwartzenberger\Documents\ATS\CHRYSLER INTERNATIONAL\Chrysler PRGs\ICONS\safety.png">
                  <a:extLst>
                    <a:ext uri="{FF2B5EF4-FFF2-40B4-BE49-F238E27FC236}">
                      <a16:creationId xmlns:a16="http://schemas.microsoft.com/office/drawing/2014/main" id="{D97B940C-6A4A-7408-E6DF-D40ADE5B72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rgbClr val="24378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2888" y="1011276"/>
                  <a:ext cx="549087" cy="556640"/>
                </a:xfrm>
                <a:prstGeom prst="rect">
                  <a:avLst/>
                </a:prstGeom>
                <a:noFill/>
              </p:spPr>
            </p:pic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F4FFDC34-0950-02B9-7262-8C5F29531F6E}"/>
                    </a:ext>
                  </a:extLst>
                </p:cNvPr>
                <p:cNvSpPr/>
                <p:nvPr/>
              </p:nvSpPr>
              <p:spPr>
                <a:xfrm>
                  <a:off x="654757" y="1068681"/>
                  <a:ext cx="470369" cy="433569"/>
                </a:xfrm>
                <a:prstGeom prst="ellipse">
                  <a:avLst/>
                </a:prstGeom>
                <a:solidFill>
                  <a:srgbClr val="29387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ar-AE" err="1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32" name="Graphic 31" descr="Convertible with solid fill">
                <a:extLst>
                  <a:ext uri="{FF2B5EF4-FFF2-40B4-BE49-F238E27FC236}">
                    <a16:creationId xmlns:a16="http://schemas.microsoft.com/office/drawing/2014/main" id="{5110CA2C-5AF4-84C3-E452-225119E507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704411" y="5057488"/>
                <a:ext cx="379889" cy="379889"/>
              </a:xfrm>
              <a:prstGeom prst="rect">
                <a:avLst/>
              </a:prstGeom>
            </p:spPr>
          </p:pic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7208CC5-99F2-24DC-F5FA-3ADA78243D19}"/>
                </a:ext>
              </a:extLst>
            </p:cNvPr>
            <p:cNvGrpSpPr/>
            <p:nvPr/>
          </p:nvGrpSpPr>
          <p:grpSpPr>
            <a:xfrm>
              <a:off x="7943110" y="4768340"/>
              <a:ext cx="549087" cy="556640"/>
              <a:chOff x="616558" y="5735027"/>
              <a:chExt cx="549087" cy="556640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43C11AA7-775E-8747-D6F2-DD0466760972}"/>
                  </a:ext>
                </a:extLst>
              </p:cNvPr>
              <p:cNvGrpSpPr/>
              <p:nvPr/>
            </p:nvGrpSpPr>
            <p:grpSpPr>
              <a:xfrm>
                <a:off x="616558" y="5735027"/>
                <a:ext cx="549087" cy="556640"/>
                <a:chOff x="612888" y="1011276"/>
                <a:chExt cx="549087" cy="556640"/>
              </a:xfrm>
            </p:grpSpPr>
            <p:pic>
              <p:nvPicPr>
                <p:cNvPr id="38" name="Picture 37" descr="C:\Users\aschwartzenberger\Documents\ATS\CHRYSLER INTERNATIONAL\Chrysler PRGs\ICONS\safety.png">
                  <a:extLst>
                    <a:ext uri="{FF2B5EF4-FFF2-40B4-BE49-F238E27FC236}">
                      <a16:creationId xmlns:a16="http://schemas.microsoft.com/office/drawing/2014/main" id="{B10DDE36-D120-8F5C-7CB1-B5AF83B7AB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rgbClr val="24378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2888" y="1011276"/>
                  <a:ext cx="549087" cy="556640"/>
                </a:xfrm>
                <a:prstGeom prst="rect">
                  <a:avLst/>
                </a:prstGeom>
                <a:noFill/>
              </p:spPr>
            </p:pic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B49AAE88-4606-AD25-765C-6600A0957801}"/>
                    </a:ext>
                  </a:extLst>
                </p:cNvPr>
                <p:cNvSpPr/>
                <p:nvPr/>
              </p:nvSpPr>
              <p:spPr>
                <a:xfrm>
                  <a:off x="654757" y="1068681"/>
                  <a:ext cx="470369" cy="433569"/>
                </a:xfrm>
                <a:prstGeom prst="ellipse">
                  <a:avLst/>
                </a:prstGeom>
                <a:solidFill>
                  <a:srgbClr val="29387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ar-AE" err="1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37" name="Graphic 36" descr="Wireless with solid fill">
                <a:extLst>
                  <a:ext uri="{FF2B5EF4-FFF2-40B4-BE49-F238E27FC236}">
                    <a16:creationId xmlns:a16="http://schemas.microsoft.com/office/drawing/2014/main" id="{9D741A5D-5E5A-0B99-BC81-73D5D6E4C6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713788" y="5829567"/>
                <a:ext cx="360729" cy="360729"/>
              </a:xfrm>
              <a:prstGeom prst="rect">
                <a:avLst/>
              </a:prstGeom>
            </p:spPr>
          </p:pic>
        </p:grp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5989D6F1-5F8C-626D-CCE7-4ED65DDD2730}"/>
              </a:ext>
            </a:extLst>
          </p:cNvPr>
          <p:cNvSpPr txBox="1">
            <a:spLocks/>
          </p:cNvSpPr>
          <p:nvPr/>
        </p:nvSpPr>
        <p:spPr>
          <a:xfrm>
            <a:off x="335280" y="1860667"/>
            <a:ext cx="1152144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526" fontAlgn="base">
              <a:lnSpc>
                <a:spcPct val="100000"/>
              </a:lnSpc>
              <a:spcAft>
                <a:spcPct val="0"/>
              </a:spcAft>
              <a:tabLst>
                <a:tab pos="275353" algn="l"/>
              </a:tabLst>
              <a:defRPr/>
            </a:pPr>
            <a:r>
              <a:rPr lang="en-US" sz="2400" b="1" dirty="0">
                <a:solidFill>
                  <a:schemeClr val="bg1"/>
                </a:solidFill>
                <a:latin typeface="Arial (Headings)"/>
                <a:ea typeface="+mn-ea"/>
                <a:cs typeface="+mn-cs"/>
              </a:rPr>
              <a:t>WHY DO PEOPLE BUY CARS?</a:t>
            </a:r>
          </a:p>
        </p:txBody>
      </p:sp>
    </p:spTree>
    <p:extLst>
      <p:ext uri="{BB962C8B-B14F-4D97-AF65-F5344CB8AC3E}">
        <p14:creationId xmlns:p14="http://schemas.microsoft.com/office/powerpoint/2010/main" val="3895456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 (Headings)"/>
              </a:rPr>
              <a:t>PICKING THE RIGHT MODE OF RESPONS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C94EAE-C431-A0BA-D46A-FAA3C0F27FD3}"/>
              </a:ext>
            </a:extLst>
          </p:cNvPr>
          <p:cNvSpPr/>
          <p:nvPr/>
        </p:nvSpPr>
        <p:spPr>
          <a:xfrm>
            <a:off x="526944" y="1886128"/>
            <a:ext cx="5364897" cy="914221"/>
          </a:xfrm>
          <a:prstGeom prst="rect">
            <a:avLst/>
          </a:prstGeom>
          <a:solidFill>
            <a:srgbClr val="2938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174927EA-6D0A-8582-1A59-6850C2EA8CF8}"/>
              </a:ext>
            </a:extLst>
          </p:cNvPr>
          <p:cNvSpPr txBox="1">
            <a:spLocks/>
          </p:cNvSpPr>
          <p:nvPr/>
        </p:nvSpPr>
        <p:spPr bwMode="gray">
          <a:xfrm>
            <a:off x="526941" y="2204738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hoose the right mode of respons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DFFF6-6C42-A061-71D2-41991B728A8C}"/>
              </a:ext>
            </a:extLst>
          </p:cNvPr>
          <p:cNvSpPr/>
          <p:nvPr/>
        </p:nvSpPr>
        <p:spPr>
          <a:xfrm>
            <a:off x="526945" y="2971889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385FE4-BC89-EA2D-D305-40620321B00E}"/>
              </a:ext>
            </a:extLst>
          </p:cNvPr>
          <p:cNvSpPr txBox="1">
            <a:spLocks/>
          </p:cNvSpPr>
          <p:nvPr/>
        </p:nvSpPr>
        <p:spPr bwMode="gray">
          <a:xfrm>
            <a:off x="526941" y="3290499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Quick repl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1F9E0-E564-31AE-75A1-09E6136221B3}"/>
              </a:ext>
            </a:extLst>
          </p:cNvPr>
          <p:cNvSpPr/>
          <p:nvPr/>
        </p:nvSpPr>
        <p:spPr>
          <a:xfrm>
            <a:off x="526944" y="4057650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31B3DC3-91B7-DD17-DE12-192F82582672}"/>
              </a:ext>
            </a:extLst>
          </p:cNvPr>
          <p:cNvSpPr txBox="1">
            <a:spLocks/>
          </p:cNvSpPr>
          <p:nvPr/>
        </p:nvSpPr>
        <p:spPr bwMode="gray">
          <a:xfrm>
            <a:off x="526940" y="4376260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ersonalized &amp; uniqu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E8A4AF-1D09-5C47-F0AD-196DC7E5A752}"/>
              </a:ext>
            </a:extLst>
          </p:cNvPr>
          <p:cNvSpPr/>
          <p:nvPr/>
        </p:nvSpPr>
        <p:spPr>
          <a:xfrm>
            <a:off x="526943" y="5143411"/>
            <a:ext cx="5364895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7A1648-161E-B6C8-06CC-672430079CF4}"/>
              </a:ext>
            </a:extLst>
          </p:cNvPr>
          <p:cNvSpPr txBox="1">
            <a:spLocks/>
          </p:cNvSpPr>
          <p:nvPr/>
        </p:nvSpPr>
        <p:spPr bwMode="gray">
          <a:xfrm>
            <a:off x="526940" y="546202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tart a conversa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7821D44-392C-4A89-F344-8F0AA045BA61}"/>
              </a:ext>
            </a:extLst>
          </p:cNvPr>
          <p:cNvSpPr/>
          <p:nvPr/>
        </p:nvSpPr>
        <p:spPr>
          <a:xfrm>
            <a:off x="6404568" y="1886128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1F553C11-6EFE-ECBF-7550-65CC3B41AAF3}"/>
              </a:ext>
            </a:extLst>
          </p:cNvPr>
          <p:cNvSpPr txBox="1">
            <a:spLocks/>
          </p:cNvSpPr>
          <p:nvPr/>
        </p:nvSpPr>
        <p:spPr bwMode="gray">
          <a:xfrm>
            <a:off x="6490057" y="2007292"/>
            <a:ext cx="3445292" cy="3539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f a phone number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s provided: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ive the customer a call</a:t>
            </a:r>
          </a:p>
          <a:p>
            <a:pPr marL="742950" lvl="1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use WhatsApp if notes as preferred method of communication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f a phone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number is not provided: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llow-up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via email</a:t>
            </a:r>
          </a:p>
          <a:p>
            <a:pPr marL="742950" lvl="1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 noProof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k for phone number in follow-up response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4FDE70C-0318-5BEF-A24B-3CA87DB2B703}"/>
              </a:ext>
            </a:extLst>
          </p:cNvPr>
          <p:cNvCxnSpPr>
            <a:cxnSpLocks/>
          </p:cNvCxnSpPr>
          <p:nvPr/>
        </p:nvCxnSpPr>
        <p:spPr>
          <a:xfrm>
            <a:off x="5830651" y="2404882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18351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1D54BC0-B1BD-4863-A9D4-24EEC2CDFEDC}"/>
              </a:ext>
            </a:extLst>
          </p:cNvPr>
          <p:cNvSpPr txBox="1">
            <a:spLocks/>
          </p:cNvSpPr>
          <p:nvPr/>
        </p:nvSpPr>
        <p:spPr bwMode="gray">
          <a:xfrm>
            <a:off x="526944" y="316696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sz="1800" b="1" dirty="0">
                <a:solidFill>
                  <a:srgbClr val="005BAA"/>
                </a:solidFill>
                <a:latin typeface="Arial (Headings)"/>
                <a:ea typeface="+mn-ea"/>
                <a:cs typeface="+mn-cs"/>
              </a:rPr>
              <a:t>CUSTOMER BUYING MOTIVES</a:t>
            </a:r>
          </a:p>
        </p:txBody>
      </p:sp>
      <p:sp>
        <p:nvSpPr>
          <p:cNvPr id="11" name="Google Shape;244;p34">
            <a:extLst>
              <a:ext uri="{FF2B5EF4-FFF2-40B4-BE49-F238E27FC236}">
                <a16:creationId xmlns:a16="http://schemas.microsoft.com/office/drawing/2014/main" id="{03DE0066-7774-0D89-13CE-89D60FB7D2FB}"/>
              </a:ext>
            </a:extLst>
          </p:cNvPr>
          <p:cNvSpPr txBox="1">
            <a:spLocks/>
          </p:cNvSpPr>
          <p:nvPr/>
        </p:nvSpPr>
        <p:spPr>
          <a:xfrm>
            <a:off x="6228468" y="1011275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S</a:t>
            </a:r>
          </a:p>
        </p:txBody>
      </p:sp>
      <p:sp>
        <p:nvSpPr>
          <p:cNvPr id="12" name="Google Shape;244;p34">
            <a:extLst>
              <a:ext uri="{FF2B5EF4-FFF2-40B4-BE49-F238E27FC236}">
                <a16:creationId xmlns:a16="http://schemas.microsoft.com/office/drawing/2014/main" id="{87957E39-AD85-9869-6666-CF250C111FDE}"/>
              </a:ext>
            </a:extLst>
          </p:cNvPr>
          <p:cNvSpPr txBox="1">
            <a:spLocks/>
          </p:cNvSpPr>
          <p:nvPr/>
        </p:nvSpPr>
        <p:spPr>
          <a:xfrm>
            <a:off x="6228467" y="1791512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P</a:t>
            </a:r>
          </a:p>
        </p:txBody>
      </p:sp>
      <p:sp>
        <p:nvSpPr>
          <p:cNvPr id="13" name="Google Shape;244;p34">
            <a:extLst>
              <a:ext uri="{FF2B5EF4-FFF2-40B4-BE49-F238E27FC236}">
                <a16:creationId xmlns:a16="http://schemas.microsoft.com/office/drawing/2014/main" id="{0601FCC4-B4F5-9AB2-4654-F012647E6086}"/>
              </a:ext>
            </a:extLst>
          </p:cNvPr>
          <p:cNvSpPr txBox="1">
            <a:spLocks/>
          </p:cNvSpPr>
          <p:nvPr/>
        </p:nvSpPr>
        <p:spPr>
          <a:xfrm>
            <a:off x="6228466" y="2571749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E</a:t>
            </a:r>
          </a:p>
        </p:txBody>
      </p:sp>
      <p:sp>
        <p:nvSpPr>
          <p:cNvPr id="15" name="Google Shape;244;p34">
            <a:extLst>
              <a:ext uri="{FF2B5EF4-FFF2-40B4-BE49-F238E27FC236}">
                <a16:creationId xmlns:a16="http://schemas.microsoft.com/office/drawing/2014/main" id="{AA4F01BA-EA29-1680-EFED-57CFB11B1F22}"/>
              </a:ext>
            </a:extLst>
          </p:cNvPr>
          <p:cNvSpPr txBox="1">
            <a:spLocks/>
          </p:cNvSpPr>
          <p:nvPr/>
        </p:nvSpPr>
        <p:spPr>
          <a:xfrm>
            <a:off x="6224792" y="3352312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C</a:t>
            </a:r>
          </a:p>
        </p:txBody>
      </p:sp>
      <p:sp>
        <p:nvSpPr>
          <p:cNvPr id="16" name="Google Shape;244;p34">
            <a:extLst>
              <a:ext uri="{FF2B5EF4-FFF2-40B4-BE49-F238E27FC236}">
                <a16:creationId xmlns:a16="http://schemas.microsoft.com/office/drawing/2014/main" id="{571BF4E8-9AB1-1EDC-0840-5230160552B5}"/>
              </a:ext>
            </a:extLst>
          </p:cNvPr>
          <p:cNvSpPr txBox="1">
            <a:spLocks/>
          </p:cNvSpPr>
          <p:nvPr/>
        </p:nvSpPr>
        <p:spPr>
          <a:xfrm>
            <a:off x="7095874" y="1011276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Safety &amp; Security</a:t>
            </a:r>
          </a:p>
        </p:txBody>
      </p:sp>
      <p:sp>
        <p:nvSpPr>
          <p:cNvPr id="17" name="Google Shape;244;p34">
            <a:extLst>
              <a:ext uri="{FF2B5EF4-FFF2-40B4-BE49-F238E27FC236}">
                <a16:creationId xmlns:a16="http://schemas.microsoft.com/office/drawing/2014/main" id="{F8CFB325-8A78-AF4A-B94A-92A50709AAFD}"/>
              </a:ext>
            </a:extLst>
          </p:cNvPr>
          <p:cNvSpPr txBox="1">
            <a:spLocks/>
          </p:cNvSpPr>
          <p:nvPr/>
        </p:nvSpPr>
        <p:spPr>
          <a:xfrm>
            <a:off x="7095874" y="1791512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Performance</a:t>
            </a:r>
          </a:p>
        </p:txBody>
      </p:sp>
      <p:sp>
        <p:nvSpPr>
          <p:cNvPr id="18" name="Google Shape;244;p34">
            <a:extLst>
              <a:ext uri="{FF2B5EF4-FFF2-40B4-BE49-F238E27FC236}">
                <a16:creationId xmlns:a16="http://schemas.microsoft.com/office/drawing/2014/main" id="{84F15774-B141-27E5-C8E4-35A4B7BE5A5A}"/>
              </a:ext>
            </a:extLst>
          </p:cNvPr>
          <p:cNvSpPr txBox="1">
            <a:spLocks/>
          </p:cNvSpPr>
          <p:nvPr/>
        </p:nvSpPr>
        <p:spPr>
          <a:xfrm>
            <a:off x="7095874" y="2571748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Economy, Environment, Electrification</a:t>
            </a:r>
          </a:p>
        </p:txBody>
      </p:sp>
      <p:sp>
        <p:nvSpPr>
          <p:cNvPr id="20" name="Google Shape;244;p34">
            <a:extLst>
              <a:ext uri="{FF2B5EF4-FFF2-40B4-BE49-F238E27FC236}">
                <a16:creationId xmlns:a16="http://schemas.microsoft.com/office/drawing/2014/main" id="{B0651EAB-8165-8C34-8A90-E3F378FF5D71}"/>
              </a:ext>
            </a:extLst>
          </p:cNvPr>
          <p:cNvSpPr txBox="1">
            <a:spLocks/>
          </p:cNvSpPr>
          <p:nvPr/>
        </p:nvSpPr>
        <p:spPr>
          <a:xfrm>
            <a:off x="7102622" y="3352313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Comfort &amp; Convenience</a:t>
            </a:r>
          </a:p>
        </p:txBody>
      </p:sp>
      <p:sp>
        <p:nvSpPr>
          <p:cNvPr id="22" name="Google Shape;244;p34">
            <a:extLst>
              <a:ext uri="{FF2B5EF4-FFF2-40B4-BE49-F238E27FC236}">
                <a16:creationId xmlns:a16="http://schemas.microsoft.com/office/drawing/2014/main" id="{336E5FCA-F7F7-DD14-7D30-C0E386CCC42A}"/>
              </a:ext>
            </a:extLst>
          </p:cNvPr>
          <p:cNvSpPr txBox="1">
            <a:spLocks/>
          </p:cNvSpPr>
          <p:nvPr/>
        </p:nvSpPr>
        <p:spPr>
          <a:xfrm>
            <a:off x="6224792" y="4132546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I</a:t>
            </a:r>
          </a:p>
        </p:txBody>
      </p:sp>
      <p:sp>
        <p:nvSpPr>
          <p:cNvPr id="23" name="Google Shape;244;p34">
            <a:extLst>
              <a:ext uri="{FF2B5EF4-FFF2-40B4-BE49-F238E27FC236}">
                <a16:creationId xmlns:a16="http://schemas.microsoft.com/office/drawing/2014/main" id="{A60E9D03-7F2F-5E08-EB21-235FC64B0404}"/>
              </a:ext>
            </a:extLst>
          </p:cNvPr>
          <p:cNvSpPr txBox="1">
            <a:spLocks/>
          </p:cNvSpPr>
          <p:nvPr/>
        </p:nvSpPr>
        <p:spPr>
          <a:xfrm>
            <a:off x="7102622" y="4132547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Image</a:t>
            </a:r>
          </a:p>
        </p:txBody>
      </p:sp>
      <p:sp>
        <p:nvSpPr>
          <p:cNvPr id="25" name="Google Shape;244;p34">
            <a:extLst>
              <a:ext uri="{FF2B5EF4-FFF2-40B4-BE49-F238E27FC236}">
                <a16:creationId xmlns:a16="http://schemas.microsoft.com/office/drawing/2014/main" id="{16F645E5-4F2B-6357-1B11-B23F068C425A}"/>
              </a:ext>
            </a:extLst>
          </p:cNvPr>
          <p:cNvSpPr txBox="1">
            <a:spLocks/>
          </p:cNvSpPr>
          <p:nvPr/>
        </p:nvSpPr>
        <p:spPr>
          <a:xfrm>
            <a:off x="6224792" y="4912780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T</a:t>
            </a:r>
          </a:p>
        </p:txBody>
      </p:sp>
      <p:sp>
        <p:nvSpPr>
          <p:cNvPr id="26" name="Google Shape;244;p34">
            <a:extLst>
              <a:ext uri="{FF2B5EF4-FFF2-40B4-BE49-F238E27FC236}">
                <a16:creationId xmlns:a16="http://schemas.microsoft.com/office/drawing/2014/main" id="{3FD8CD98-87E8-7B30-64BA-18DB1E5826DA}"/>
              </a:ext>
            </a:extLst>
          </p:cNvPr>
          <p:cNvSpPr txBox="1">
            <a:spLocks/>
          </p:cNvSpPr>
          <p:nvPr/>
        </p:nvSpPr>
        <p:spPr>
          <a:xfrm>
            <a:off x="7102622" y="4912781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Technology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F6500B3-E04E-9073-52F2-532396B8223B}"/>
              </a:ext>
            </a:extLst>
          </p:cNvPr>
          <p:cNvGrpSpPr/>
          <p:nvPr/>
        </p:nvGrpSpPr>
        <p:grpSpPr>
          <a:xfrm>
            <a:off x="5361058" y="1053600"/>
            <a:ext cx="549087" cy="556640"/>
            <a:chOff x="612884" y="1053600"/>
            <a:chExt cx="549087" cy="556640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B6C18CD-A31C-C7BB-9363-4CBFB6267121}"/>
                </a:ext>
              </a:extLst>
            </p:cNvPr>
            <p:cNvGrpSpPr/>
            <p:nvPr/>
          </p:nvGrpSpPr>
          <p:grpSpPr>
            <a:xfrm>
              <a:off x="612884" y="1053600"/>
              <a:ext cx="549087" cy="556640"/>
              <a:chOff x="612888" y="1011276"/>
              <a:chExt cx="549087" cy="556640"/>
            </a:xfrm>
          </p:grpSpPr>
          <p:pic>
            <p:nvPicPr>
              <p:cNvPr id="9" name="Picture 8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0FE97B24-7B72-BC78-567D-4B06D02C80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07E7BCE1-0ED0-78A5-E4F4-327A8C00BB2D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58" name="Graphic 57" descr="Seat Belt with solid fill">
              <a:extLst>
                <a:ext uri="{FF2B5EF4-FFF2-40B4-BE49-F238E27FC236}">
                  <a16:creationId xmlns:a16="http://schemas.microsoft.com/office/drawing/2014/main" id="{79DC90EC-C7A3-CE70-2659-6F00EA6F5B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5021" y="1136511"/>
              <a:ext cx="379279" cy="379279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601A98-E41F-6BA2-8C94-172CCE69EA92}"/>
              </a:ext>
            </a:extLst>
          </p:cNvPr>
          <p:cNvGrpSpPr/>
          <p:nvPr/>
        </p:nvGrpSpPr>
        <p:grpSpPr>
          <a:xfrm>
            <a:off x="5361060" y="1833844"/>
            <a:ext cx="549087" cy="556640"/>
            <a:chOff x="612886" y="1833844"/>
            <a:chExt cx="549087" cy="55664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84A77A8-CCA7-7BB0-B76A-90B287D0D2BD}"/>
                </a:ext>
              </a:extLst>
            </p:cNvPr>
            <p:cNvGrpSpPr/>
            <p:nvPr/>
          </p:nvGrpSpPr>
          <p:grpSpPr>
            <a:xfrm>
              <a:off x="612886" y="1833844"/>
              <a:ext cx="549087" cy="556640"/>
              <a:chOff x="612888" y="1011276"/>
              <a:chExt cx="549087" cy="556640"/>
            </a:xfrm>
          </p:grpSpPr>
          <p:pic>
            <p:nvPicPr>
              <p:cNvPr id="40" name="Picture 39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8668EC12-98AE-B584-ADB1-63AC028B51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EB4B65ED-DAE1-6F56-DAA3-17ABE32DE4CA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61" name="Graphic 60" descr="Gauge with solid fill">
              <a:extLst>
                <a:ext uri="{FF2B5EF4-FFF2-40B4-BE49-F238E27FC236}">
                  <a16:creationId xmlns:a16="http://schemas.microsoft.com/office/drawing/2014/main" id="{2D212D42-91E0-3052-A547-6DEDB01CB13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4738" y="1885524"/>
              <a:ext cx="397951" cy="397951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C7A1DA7-2CF2-2950-0051-0D6339E4978F}"/>
              </a:ext>
            </a:extLst>
          </p:cNvPr>
          <p:cNvGrpSpPr/>
          <p:nvPr/>
        </p:nvGrpSpPr>
        <p:grpSpPr>
          <a:xfrm>
            <a:off x="5361058" y="2614077"/>
            <a:ext cx="549087" cy="556640"/>
            <a:chOff x="612884" y="2614077"/>
            <a:chExt cx="549087" cy="556640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2B421414-A963-B8EE-920B-447271DAF569}"/>
                </a:ext>
              </a:extLst>
            </p:cNvPr>
            <p:cNvGrpSpPr/>
            <p:nvPr/>
          </p:nvGrpSpPr>
          <p:grpSpPr>
            <a:xfrm>
              <a:off x="612884" y="2614077"/>
              <a:ext cx="549087" cy="556640"/>
              <a:chOff x="612888" y="1011276"/>
              <a:chExt cx="549087" cy="556640"/>
            </a:xfrm>
          </p:grpSpPr>
          <p:pic>
            <p:nvPicPr>
              <p:cNvPr id="43" name="Picture 42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2A626B2F-053A-9BD1-1784-FF53926582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090A851A-8755-38EA-C282-AF1CB3153F90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64" name="Graphic 63" descr="Money with solid fill">
              <a:extLst>
                <a:ext uri="{FF2B5EF4-FFF2-40B4-BE49-F238E27FC236}">
                  <a16:creationId xmlns:a16="http://schemas.microsoft.com/office/drawing/2014/main" id="{2FD965BC-009C-E07A-F088-CE1C96C8B5D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94738" y="2679871"/>
              <a:ext cx="379067" cy="379067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0004CFE-8B09-1990-5F80-F1403097780C}"/>
              </a:ext>
            </a:extLst>
          </p:cNvPr>
          <p:cNvGrpSpPr/>
          <p:nvPr/>
        </p:nvGrpSpPr>
        <p:grpSpPr>
          <a:xfrm>
            <a:off x="5362110" y="3394649"/>
            <a:ext cx="549087" cy="556640"/>
            <a:chOff x="617610" y="4174560"/>
            <a:chExt cx="549087" cy="556640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13A219E-85B6-F7D1-4653-19519A136667}"/>
                </a:ext>
              </a:extLst>
            </p:cNvPr>
            <p:cNvGrpSpPr/>
            <p:nvPr/>
          </p:nvGrpSpPr>
          <p:grpSpPr>
            <a:xfrm>
              <a:off x="617610" y="4174560"/>
              <a:ext cx="549087" cy="556640"/>
              <a:chOff x="612888" y="1011276"/>
              <a:chExt cx="549087" cy="556640"/>
            </a:xfrm>
          </p:grpSpPr>
          <p:pic>
            <p:nvPicPr>
              <p:cNvPr id="49" name="Picture 48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EB13FC87-B01F-A06A-3F9F-FDA4A1773D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F1D9000D-8725-7FD1-780C-50B68670444C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70" name="Graphic 69" descr="Thumbs up sign with solid fill">
              <a:extLst>
                <a:ext uri="{FF2B5EF4-FFF2-40B4-BE49-F238E27FC236}">
                  <a16:creationId xmlns:a16="http://schemas.microsoft.com/office/drawing/2014/main" id="{0BF2F539-47E9-63AA-D660-A0389D06E2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32306" y="4276946"/>
              <a:ext cx="343605" cy="343605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60A392C-52F1-5367-8A76-299CCDF8F99D}"/>
              </a:ext>
            </a:extLst>
          </p:cNvPr>
          <p:cNvGrpSpPr/>
          <p:nvPr/>
        </p:nvGrpSpPr>
        <p:grpSpPr>
          <a:xfrm>
            <a:off x="5362108" y="4174882"/>
            <a:ext cx="549087" cy="556640"/>
            <a:chOff x="617608" y="4954793"/>
            <a:chExt cx="549087" cy="556640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72C12BEF-E09D-283C-0C76-1ED7EA615889}"/>
                </a:ext>
              </a:extLst>
            </p:cNvPr>
            <p:cNvGrpSpPr/>
            <p:nvPr/>
          </p:nvGrpSpPr>
          <p:grpSpPr>
            <a:xfrm>
              <a:off x="617608" y="4954793"/>
              <a:ext cx="549087" cy="556640"/>
              <a:chOff x="612888" y="1011276"/>
              <a:chExt cx="549087" cy="556640"/>
            </a:xfrm>
          </p:grpSpPr>
          <p:pic>
            <p:nvPicPr>
              <p:cNvPr id="52" name="Picture 51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1BD62AFE-FB5A-15F7-7828-770D738D92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6B861755-63BE-8A91-0C21-C869589FCE10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73" name="Graphic 72" descr="Convertible with solid fill">
              <a:extLst>
                <a:ext uri="{FF2B5EF4-FFF2-40B4-BE49-F238E27FC236}">
                  <a16:creationId xmlns:a16="http://schemas.microsoft.com/office/drawing/2014/main" id="{2F54806D-3FA7-0D8A-D508-060E6CD1D7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04411" y="5057488"/>
              <a:ext cx="379889" cy="379889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0FDACB3-83F9-231D-0929-C641074FF144}"/>
              </a:ext>
            </a:extLst>
          </p:cNvPr>
          <p:cNvGrpSpPr/>
          <p:nvPr/>
        </p:nvGrpSpPr>
        <p:grpSpPr>
          <a:xfrm>
            <a:off x="5361058" y="4955116"/>
            <a:ext cx="549087" cy="556640"/>
            <a:chOff x="616558" y="5735027"/>
            <a:chExt cx="549087" cy="556640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7623E59-3CBD-ADDA-BBBB-A1C24517E029}"/>
                </a:ext>
              </a:extLst>
            </p:cNvPr>
            <p:cNvGrpSpPr/>
            <p:nvPr/>
          </p:nvGrpSpPr>
          <p:grpSpPr>
            <a:xfrm>
              <a:off x="616558" y="5735027"/>
              <a:ext cx="549087" cy="556640"/>
              <a:chOff x="612888" y="1011276"/>
              <a:chExt cx="549087" cy="556640"/>
            </a:xfrm>
          </p:grpSpPr>
          <p:pic>
            <p:nvPicPr>
              <p:cNvPr id="55" name="Picture 54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C983E9EF-4E52-0C98-E6CF-AB2EACE749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907DD7DC-D487-148A-7C41-1C202D108849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76" name="Graphic 75" descr="Wireless with solid fill">
              <a:extLst>
                <a:ext uri="{FF2B5EF4-FFF2-40B4-BE49-F238E27FC236}">
                  <a16:creationId xmlns:a16="http://schemas.microsoft.com/office/drawing/2014/main" id="{CEB194BD-D6E6-607D-69B0-F0B218665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13788" y="5829567"/>
              <a:ext cx="360729" cy="360729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F1B4828-FF00-D722-0BAF-5812268E9C1B}"/>
              </a:ext>
            </a:extLst>
          </p:cNvPr>
          <p:cNvGrpSpPr/>
          <p:nvPr/>
        </p:nvGrpSpPr>
        <p:grpSpPr>
          <a:xfrm>
            <a:off x="526944" y="3141206"/>
            <a:ext cx="3807160" cy="621030"/>
            <a:chOff x="6859137" y="0"/>
            <a:chExt cx="3807160" cy="1242060"/>
          </a:xfrm>
        </p:grpSpPr>
        <p:sp>
          <p:nvSpPr>
            <p:cNvPr id="4" name="Arrow: Chevron 3">
              <a:extLst>
                <a:ext uri="{FF2B5EF4-FFF2-40B4-BE49-F238E27FC236}">
                  <a16:creationId xmlns:a16="http://schemas.microsoft.com/office/drawing/2014/main" id="{255E212C-6D3D-DA37-F4F7-C78D9D316A63}"/>
                </a:ext>
              </a:extLst>
            </p:cNvPr>
            <p:cNvSpPr/>
            <p:nvPr/>
          </p:nvSpPr>
          <p:spPr>
            <a:xfrm>
              <a:off x="6859137" y="0"/>
              <a:ext cx="3807160" cy="1242060"/>
            </a:xfrm>
            <a:prstGeom prst="chevron">
              <a:avLst/>
            </a:prstGeom>
            <a:solidFill>
              <a:srgbClr val="243782">
                <a:lumMod val="20000"/>
                <a:lumOff val="80000"/>
                <a:alpha val="30000"/>
              </a:srgbClr>
            </a:solidFill>
            <a:ln w="12700" cap="flat" cmpd="sng" algn="ctr">
              <a:solidFill>
                <a:srgbClr val="26397D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5" name="Arrow: Chevron 4">
              <a:extLst>
                <a:ext uri="{FF2B5EF4-FFF2-40B4-BE49-F238E27FC236}">
                  <a16:creationId xmlns:a16="http://schemas.microsoft.com/office/drawing/2014/main" id="{266EB560-6A6D-F4B5-083C-BF32466E2528}"/>
                </a:ext>
              </a:extLst>
            </p:cNvPr>
            <p:cNvSpPr txBox="1"/>
            <p:nvPr/>
          </p:nvSpPr>
          <p:spPr>
            <a:xfrm>
              <a:off x="7480167" y="0"/>
              <a:ext cx="2565100" cy="12420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6007" tIns="18669" rIns="18669" bIns="18669" numCol="1" spcCol="1270" rtlCol="0" anchor="ctr" anchorCtr="0">
              <a:noAutofit/>
            </a:bodyPr>
            <a:lstStyle/>
            <a:p>
              <a:pPr marL="0" marR="0" lvl="0" indent="0" algn="ctr" defTabSz="622300" rtl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r>
                <a:rPr lang="en-US" sz="1400" b="0" i="0" u="none" strike="noStrike" kern="1200" cap="none">
                  <a:solidFill>
                    <a:srgbClr val="243782"/>
                  </a:solidFill>
                  <a:latin typeface="+mj-lt"/>
                  <a:ea typeface="+mn-ea"/>
                  <a:cs typeface="+mn-cs"/>
                  <a:sym typeface="Arial"/>
                </a:rPr>
                <a:t>SPECI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34668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5" grpId="0"/>
      <p:bldP spid="16" grpId="0"/>
      <p:bldP spid="17" grpId="0"/>
      <p:bldP spid="18" grpId="0"/>
      <p:bldP spid="20" grpId="0"/>
      <p:bldP spid="22" grpId="0"/>
      <p:bldP spid="23" grpId="0"/>
      <p:bldP spid="25" grpId="0"/>
      <p:bldP spid="26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855338" y="2066239"/>
            <a:ext cx="131997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Influenc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740979" y="3195903"/>
            <a:ext cx="143433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Need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693681" y="4332902"/>
            <a:ext cx="172336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Budge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693681" y="5477789"/>
            <a:ext cx="16396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mpeti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How many kids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The main Driver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How many passengers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Decision maker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0" y="2343238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D1D53C0-CC2C-A6BF-BE00-DBBFA6D3ED3A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QUALITY NEEDS ASSESSMENT</a:t>
            </a:r>
          </a:p>
        </p:txBody>
      </p:sp>
      <p:pic>
        <p:nvPicPr>
          <p:cNvPr id="19" name="Picture Placeholder 6">
            <a:extLst>
              <a:ext uri="{FF2B5EF4-FFF2-40B4-BE49-F238E27FC236}">
                <a16:creationId xmlns:a16="http://schemas.microsoft.com/office/drawing/2014/main" id="{EC0A6563-F428-4123-8338-A7D4615DEA2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1850" b="11850"/>
          <a:stretch>
            <a:fillRect/>
          </a:stretch>
        </p:blipFill>
        <p:spPr>
          <a:xfrm>
            <a:off x="7523393" y="1625068"/>
            <a:ext cx="4070924" cy="4579789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DDE76255-0D45-80AD-AA92-94DC4F727AD7}"/>
              </a:ext>
            </a:extLst>
          </p:cNvPr>
          <p:cNvSpPr txBox="1">
            <a:spLocks/>
          </p:cNvSpPr>
          <p:nvPr/>
        </p:nvSpPr>
        <p:spPr bwMode="gray">
          <a:xfrm>
            <a:off x="526944" y="948068"/>
            <a:ext cx="732660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 dirty="0">
                <a:solidFill>
                  <a:srgbClr val="005BAA"/>
                </a:solidFill>
                <a:latin typeface="Arial (Headings)"/>
                <a:cs typeface="Calibri"/>
              </a:rPr>
              <a:t>Questions that could be ask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8059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11" grpId="0" animBg="1"/>
      <p:bldP spid="13" grpId="0" animBg="1"/>
      <p:bldP spid="15" grpId="0" animBg="1"/>
      <p:bldP spid="16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855338" y="2066239"/>
            <a:ext cx="131997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Influenc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740979" y="3195903"/>
            <a:ext cx="143433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Need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693681" y="4332902"/>
            <a:ext cx="172336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Budge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693681" y="5477789"/>
            <a:ext cx="16396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mpeti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5016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Current Vehicle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Type of usage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Reasons to buy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Travel patterns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Cargo/Luggage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Preferred colors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Favorite sport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Specific features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1" y="3352231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D1D53C0-CC2C-A6BF-BE00-DBBFA6D3ED3A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QUALITY NEEDS ASSESSMENT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DE76255-0D45-80AD-AA92-94DC4F727AD7}"/>
              </a:ext>
            </a:extLst>
          </p:cNvPr>
          <p:cNvSpPr txBox="1">
            <a:spLocks/>
          </p:cNvSpPr>
          <p:nvPr/>
        </p:nvSpPr>
        <p:spPr bwMode="gray">
          <a:xfrm>
            <a:off x="526944" y="948068"/>
            <a:ext cx="732660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 dirty="0">
                <a:solidFill>
                  <a:srgbClr val="005BAA"/>
                </a:solidFill>
                <a:latin typeface="Arial (Headings)"/>
                <a:cs typeface="Calibri"/>
              </a:rPr>
              <a:t>Questions that could be asked</a:t>
            </a:r>
          </a:p>
        </p:txBody>
      </p:sp>
      <p:pic>
        <p:nvPicPr>
          <p:cNvPr id="3" name="Picture Placeholder 6">
            <a:extLst>
              <a:ext uri="{FF2B5EF4-FFF2-40B4-BE49-F238E27FC236}">
                <a16:creationId xmlns:a16="http://schemas.microsoft.com/office/drawing/2014/main" id="{AA697F1F-9F9F-49ED-D939-5F1DC4B396A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1850" b="11850"/>
          <a:stretch>
            <a:fillRect/>
          </a:stretch>
        </p:blipFill>
        <p:spPr>
          <a:xfrm>
            <a:off x="7523393" y="1625068"/>
            <a:ext cx="4070924" cy="457978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806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855338" y="2066239"/>
            <a:ext cx="131997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Influenc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740979" y="3195903"/>
            <a:ext cx="143433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Need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693681" y="4332902"/>
            <a:ext cx="172336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Budge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693681" y="5477789"/>
            <a:ext cx="16396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mpeti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4154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Budget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Payment method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Trade-in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Timeline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1" y="4541013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D1D53C0-CC2C-A6BF-BE00-DBBFA6D3ED3A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QUALITY NEEDS ASSESSMENT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DE76255-0D45-80AD-AA92-94DC4F727AD7}"/>
              </a:ext>
            </a:extLst>
          </p:cNvPr>
          <p:cNvSpPr txBox="1">
            <a:spLocks/>
          </p:cNvSpPr>
          <p:nvPr/>
        </p:nvSpPr>
        <p:spPr bwMode="gray">
          <a:xfrm>
            <a:off x="526944" y="948068"/>
            <a:ext cx="732660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 dirty="0">
                <a:solidFill>
                  <a:srgbClr val="005BAA"/>
                </a:solidFill>
                <a:latin typeface="Arial (Headings)"/>
                <a:cs typeface="Calibri"/>
              </a:rPr>
              <a:t>Questions that could be asked</a:t>
            </a:r>
          </a:p>
        </p:txBody>
      </p:sp>
      <p:pic>
        <p:nvPicPr>
          <p:cNvPr id="3" name="Picture Placeholder 6">
            <a:extLst>
              <a:ext uri="{FF2B5EF4-FFF2-40B4-BE49-F238E27FC236}">
                <a16:creationId xmlns:a16="http://schemas.microsoft.com/office/drawing/2014/main" id="{707AA403-0F7B-6EFF-3003-000ABCF4E7A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1850" b="11850"/>
          <a:stretch>
            <a:fillRect/>
          </a:stretch>
        </p:blipFill>
        <p:spPr>
          <a:xfrm>
            <a:off x="7523393" y="1625068"/>
            <a:ext cx="4070924" cy="457978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56309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855338" y="2066239"/>
            <a:ext cx="131997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Influenc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740979" y="3195903"/>
            <a:ext cx="143433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Need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693681" y="4332902"/>
            <a:ext cx="172336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Budge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693681" y="5477789"/>
            <a:ext cx="16396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ctr" defTabSz="913526"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FFFFFF"/>
                </a:solidFill>
                <a:latin typeface="Arial (Headings)"/>
                <a:cs typeface="Calibri"/>
              </a:rPr>
              <a:t>Competi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5570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Previous search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Is it the 1</a:t>
            </a:r>
            <a:r>
              <a:rPr lang="en-US" sz="1800" kern="0" baseline="3000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st</a:t>
            </a: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 visit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Any shortlisted vehicles (brands/models)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Competition offers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800" kern="0">
                <a:solidFill>
                  <a:srgbClr val="000000">
                    <a:lumMod val="75000"/>
                    <a:lumOff val="25000"/>
                  </a:srgbClr>
                </a:solidFill>
                <a:latin typeface="Arial (Headings)"/>
                <a:cs typeface="Calibri"/>
              </a:rPr>
              <a:t>What you like in other brands?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800" kern="0">
              <a:solidFill>
                <a:srgbClr val="000000">
                  <a:lumMod val="75000"/>
                  <a:lumOff val="25000"/>
                </a:srgbClr>
              </a:solidFill>
              <a:latin typeface="Arial (Headings)"/>
              <a:cs typeface="Calibri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1" y="5550014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D1D53C0-CC2C-A6BF-BE00-DBBFA6D3ED3A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QUALITY NEEDS ASSESSMENT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DE76255-0D45-80AD-AA92-94DC4F727AD7}"/>
              </a:ext>
            </a:extLst>
          </p:cNvPr>
          <p:cNvSpPr txBox="1">
            <a:spLocks/>
          </p:cNvSpPr>
          <p:nvPr/>
        </p:nvSpPr>
        <p:spPr bwMode="gray">
          <a:xfrm>
            <a:off x="526944" y="948068"/>
            <a:ext cx="732660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 dirty="0">
                <a:solidFill>
                  <a:srgbClr val="005BAA"/>
                </a:solidFill>
                <a:latin typeface="Arial (Headings)"/>
                <a:cs typeface="Calibri"/>
              </a:rPr>
              <a:t>Questions that could be asked</a:t>
            </a:r>
          </a:p>
        </p:txBody>
      </p:sp>
      <p:pic>
        <p:nvPicPr>
          <p:cNvPr id="3" name="Picture Placeholder 6">
            <a:extLst>
              <a:ext uri="{FF2B5EF4-FFF2-40B4-BE49-F238E27FC236}">
                <a16:creationId xmlns:a16="http://schemas.microsoft.com/office/drawing/2014/main" id="{8A383004-E0A7-FA2A-D479-6DD4C59E8C6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1850" b="11850"/>
          <a:stretch>
            <a:fillRect/>
          </a:stretch>
        </p:blipFill>
        <p:spPr>
          <a:xfrm>
            <a:off x="7523393" y="1625068"/>
            <a:ext cx="4070924" cy="457978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3953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4D32B8-FC18-ABB9-2943-DC5D4C9D1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e you next time!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CB83679-4E9E-10DE-49BB-E96AE1D2F9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hank you!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2D75785-0C54-EEFA-56A5-19041821F2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Contact</a:t>
            </a:r>
          </a:p>
          <a:p>
            <a:pPr>
              <a:spcAft>
                <a:spcPts val="600"/>
              </a:spcAft>
            </a:pPr>
            <a:r>
              <a:rPr lang="en-US" b="1" dirty="0"/>
              <a:t>Fatma Alsagaf</a:t>
            </a:r>
            <a:br>
              <a:rPr lang="en-US" dirty="0"/>
            </a:br>
            <a:r>
              <a:rPr lang="en-US" dirty="0"/>
              <a:t>Learning &amp; Development Consultant</a:t>
            </a:r>
          </a:p>
          <a:p>
            <a:pPr>
              <a:spcAft>
                <a:spcPts val="600"/>
              </a:spcAft>
            </a:pPr>
            <a:r>
              <a:rPr lang="en-US" dirty="0"/>
              <a:t>Al-Futtaim Automotive Talent Centre, Dubai, UAE</a:t>
            </a:r>
          </a:p>
          <a:p>
            <a:pPr>
              <a:spcAft>
                <a:spcPts val="600"/>
              </a:spcAft>
            </a:pPr>
            <a:r>
              <a:rPr lang="en-US" dirty="0"/>
              <a:t>E-mail: Fatma.Alsagaf@alfuttaim.co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954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4FDE70C-0318-5BEF-A24B-3CA87DB2B703}"/>
              </a:ext>
            </a:extLst>
          </p:cNvPr>
          <p:cNvCxnSpPr>
            <a:cxnSpLocks/>
          </p:cNvCxnSpPr>
          <p:nvPr/>
        </p:nvCxnSpPr>
        <p:spPr>
          <a:xfrm>
            <a:off x="5853656" y="3435739"/>
            <a:ext cx="55091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 (Headings)"/>
              </a:rPr>
              <a:t>WHY IS IT IMPORTANT TO BE  FAST?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C94EAE-C431-A0BA-D46A-FAA3C0F27FD3}"/>
              </a:ext>
            </a:extLst>
          </p:cNvPr>
          <p:cNvSpPr/>
          <p:nvPr/>
        </p:nvSpPr>
        <p:spPr>
          <a:xfrm>
            <a:off x="526944" y="1886128"/>
            <a:ext cx="5364897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174927EA-6D0A-8582-1A59-6850C2EA8CF8}"/>
              </a:ext>
            </a:extLst>
          </p:cNvPr>
          <p:cNvSpPr txBox="1">
            <a:spLocks/>
          </p:cNvSpPr>
          <p:nvPr/>
        </p:nvSpPr>
        <p:spPr bwMode="gray">
          <a:xfrm>
            <a:off x="526941" y="2204738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hoose the right mode of respons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DFFF6-6C42-A061-71D2-41991B728A8C}"/>
              </a:ext>
            </a:extLst>
          </p:cNvPr>
          <p:cNvSpPr/>
          <p:nvPr/>
        </p:nvSpPr>
        <p:spPr>
          <a:xfrm>
            <a:off x="526945" y="2971889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385FE4-BC89-EA2D-D305-40620321B00E}"/>
              </a:ext>
            </a:extLst>
          </p:cNvPr>
          <p:cNvSpPr txBox="1">
            <a:spLocks/>
          </p:cNvSpPr>
          <p:nvPr/>
        </p:nvSpPr>
        <p:spPr bwMode="gray">
          <a:xfrm>
            <a:off x="526941" y="3290499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Quick repl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1F9E0-E564-31AE-75A1-09E6136221B3}"/>
              </a:ext>
            </a:extLst>
          </p:cNvPr>
          <p:cNvSpPr/>
          <p:nvPr/>
        </p:nvSpPr>
        <p:spPr>
          <a:xfrm>
            <a:off x="526944" y="4057650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31B3DC3-91B7-DD17-DE12-192F82582672}"/>
              </a:ext>
            </a:extLst>
          </p:cNvPr>
          <p:cNvSpPr txBox="1">
            <a:spLocks/>
          </p:cNvSpPr>
          <p:nvPr/>
        </p:nvSpPr>
        <p:spPr bwMode="gray">
          <a:xfrm>
            <a:off x="526940" y="4376260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ersonalized &amp; uniqu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E8A4AF-1D09-5C47-F0AD-196DC7E5A752}"/>
              </a:ext>
            </a:extLst>
          </p:cNvPr>
          <p:cNvSpPr/>
          <p:nvPr/>
        </p:nvSpPr>
        <p:spPr>
          <a:xfrm>
            <a:off x="526943" y="5143411"/>
            <a:ext cx="5364895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7A1648-161E-B6C8-06CC-672430079CF4}"/>
              </a:ext>
            </a:extLst>
          </p:cNvPr>
          <p:cNvSpPr txBox="1">
            <a:spLocks/>
          </p:cNvSpPr>
          <p:nvPr/>
        </p:nvSpPr>
        <p:spPr bwMode="gray">
          <a:xfrm>
            <a:off x="526940" y="546202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tart a conversa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7821D44-392C-4A89-F344-8F0AA045BA61}"/>
              </a:ext>
            </a:extLst>
          </p:cNvPr>
          <p:cNvSpPr/>
          <p:nvPr/>
        </p:nvSpPr>
        <p:spPr>
          <a:xfrm>
            <a:off x="6404568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B18858-A285-4243-BEE4-E05B9D9D9AA9}"/>
              </a:ext>
            </a:extLst>
          </p:cNvPr>
          <p:cNvSpPr txBox="1"/>
          <p:nvPr/>
        </p:nvSpPr>
        <p:spPr>
          <a:xfrm>
            <a:off x="6404568" y="1999579"/>
            <a:ext cx="361627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Better Chances of Making a S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Happier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Improve Brand Im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More Money in the Ban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225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 (Headings)"/>
                <a:cs typeface="Arial" panose="020B0604020202020204" pitchFamily="34" charset="0"/>
              </a:rPr>
              <a:t>PERSONALIZED &amp; UNIQU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C94EAE-C431-A0BA-D46A-FAA3C0F27FD3}"/>
              </a:ext>
            </a:extLst>
          </p:cNvPr>
          <p:cNvSpPr/>
          <p:nvPr/>
        </p:nvSpPr>
        <p:spPr>
          <a:xfrm>
            <a:off x="526944" y="1886128"/>
            <a:ext cx="5364897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174927EA-6D0A-8582-1A59-6850C2EA8CF8}"/>
              </a:ext>
            </a:extLst>
          </p:cNvPr>
          <p:cNvSpPr txBox="1">
            <a:spLocks/>
          </p:cNvSpPr>
          <p:nvPr/>
        </p:nvSpPr>
        <p:spPr bwMode="gray">
          <a:xfrm>
            <a:off x="526941" y="2204738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hoose the right mode of respons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DFFF6-6C42-A061-71D2-41991B728A8C}"/>
              </a:ext>
            </a:extLst>
          </p:cNvPr>
          <p:cNvSpPr/>
          <p:nvPr/>
        </p:nvSpPr>
        <p:spPr>
          <a:xfrm>
            <a:off x="526945" y="2971889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385FE4-BC89-EA2D-D305-40620321B00E}"/>
              </a:ext>
            </a:extLst>
          </p:cNvPr>
          <p:cNvSpPr txBox="1">
            <a:spLocks/>
          </p:cNvSpPr>
          <p:nvPr/>
        </p:nvSpPr>
        <p:spPr bwMode="gray">
          <a:xfrm>
            <a:off x="526941" y="3290499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Quick repl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1F9E0-E564-31AE-75A1-09E6136221B3}"/>
              </a:ext>
            </a:extLst>
          </p:cNvPr>
          <p:cNvSpPr/>
          <p:nvPr/>
        </p:nvSpPr>
        <p:spPr>
          <a:xfrm>
            <a:off x="526944" y="4057650"/>
            <a:ext cx="536489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31B3DC3-91B7-DD17-DE12-192F82582672}"/>
              </a:ext>
            </a:extLst>
          </p:cNvPr>
          <p:cNvSpPr txBox="1">
            <a:spLocks/>
          </p:cNvSpPr>
          <p:nvPr/>
        </p:nvSpPr>
        <p:spPr bwMode="gray">
          <a:xfrm>
            <a:off x="526940" y="4376260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ersonalized &amp; uniqu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E8A4AF-1D09-5C47-F0AD-196DC7E5A752}"/>
              </a:ext>
            </a:extLst>
          </p:cNvPr>
          <p:cNvSpPr/>
          <p:nvPr/>
        </p:nvSpPr>
        <p:spPr>
          <a:xfrm>
            <a:off x="526943" y="5143411"/>
            <a:ext cx="5364895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7A1648-161E-B6C8-06CC-672430079CF4}"/>
              </a:ext>
            </a:extLst>
          </p:cNvPr>
          <p:cNvSpPr txBox="1">
            <a:spLocks/>
          </p:cNvSpPr>
          <p:nvPr/>
        </p:nvSpPr>
        <p:spPr bwMode="gray">
          <a:xfrm>
            <a:off x="526940" y="546202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tart a conversa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7821D44-392C-4A89-F344-8F0AA045BA61}"/>
              </a:ext>
            </a:extLst>
          </p:cNvPr>
          <p:cNvSpPr/>
          <p:nvPr/>
        </p:nvSpPr>
        <p:spPr>
          <a:xfrm>
            <a:off x="6404568" y="1886128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1F553C11-6EFE-ECBF-7550-65CC3B41AAF3}"/>
              </a:ext>
            </a:extLst>
          </p:cNvPr>
          <p:cNvSpPr txBox="1">
            <a:spLocks/>
          </p:cNvSpPr>
          <p:nvPr/>
        </p:nvSpPr>
        <p:spPr bwMode="gray">
          <a:xfrm>
            <a:off x="6690159" y="2215102"/>
            <a:ext cx="3044931" cy="3385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600" kern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 customer’s name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600" kern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the customer for the inquiry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600" kern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e yourself &amp; dealership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600" kern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your contact details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600" kern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autoreply only after office hours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600" kern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endParaRPr lang="en-US" sz="1600" kern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4FDE70C-0318-5BEF-A24B-3CA87DB2B703}"/>
              </a:ext>
            </a:extLst>
          </p:cNvPr>
          <p:cNvCxnSpPr>
            <a:cxnSpLocks/>
          </p:cNvCxnSpPr>
          <p:nvPr/>
        </p:nvCxnSpPr>
        <p:spPr>
          <a:xfrm>
            <a:off x="5885286" y="4539920"/>
            <a:ext cx="51928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908900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2000" b="1" kern="0">
                <a:solidFill>
                  <a:srgbClr val="005BAA"/>
                </a:solidFill>
                <a:latin typeface="Arial (Headings)"/>
              </a:rPr>
              <a:t>START A CONVERS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C94EAE-C431-A0BA-D46A-FAA3C0F27FD3}"/>
              </a:ext>
            </a:extLst>
          </p:cNvPr>
          <p:cNvSpPr/>
          <p:nvPr/>
        </p:nvSpPr>
        <p:spPr>
          <a:xfrm>
            <a:off x="526944" y="1886128"/>
            <a:ext cx="5364897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174927EA-6D0A-8582-1A59-6850C2EA8CF8}"/>
              </a:ext>
            </a:extLst>
          </p:cNvPr>
          <p:cNvSpPr txBox="1">
            <a:spLocks/>
          </p:cNvSpPr>
          <p:nvPr/>
        </p:nvSpPr>
        <p:spPr bwMode="gray">
          <a:xfrm>
            <a:off x="526941" y="2204738"/>
            <a:ext cx="536490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Choose the right mode of respons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DFFF6-6C42-A061-71D2-41991B728A8C}"/>
              </a:ext>
            </a:extLst>
          </p:cNvPr>
          <p:cNvSpPr/>
          <p:nvPr/>
        </p:nvSpPr>
        <p:spPr>
          <a:xfrm>
            <a:off x="526945" y="2971889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385FE4-BC89-EA2D-D305-40620321B00E}"/>
              </a:ext>
            </a:extLst>
          </p:cNvPr>
          <p:cNvSpPr txBox="1">
            <a:spLocks/>
          </p:cNvSpPr>
          <p:nvPr/>
        </p:nvSpPr>
        <p:spPr bwMode="gray">
          <a:xfrm>
            <a:off x="526941" y="3290499"/>
            <a:ext cx="53648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Quick repl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1F9E0-E564-31AE-75A1-09E6136221B3}"/>
              </a:ext>
            </a:extLst>
          </p:cNvPr>
          <p:cNvSpPr/>
          <p:nvPr/>
        </p:nvSpPr>
        <p:spPr>
          <a:xfrm>
            <a:off x="526944" y="4057650"/>
            <a:ext cx="5364896" cy="914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31B3DC3-91B7-DD17-DE12-192F82582672}"/>
              </a:ext>
            </a:extLst>
          </p:cNvPr>
          <p:cNvSpPr txBox="1">
            <a:spLocks/>
          </p:cNvSpPr>
          <p:nvPr/>
        </p:nvSpPr>
        <p:spPr bwMode="gray">
          <a:xfrm>
            <a:off x="526940" y="4376260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ersonalized &amp; uniqu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CE8A4AF-1D09-5C47-F0AD-196DC7E5A752}"/>
              </a:ext>
            </a:extLst>
          </p:cNvPr>
          <p:cNvSpPr/>
          <p:nvPr/>
        </p:nvSpPr>
        <p:spPr>
          <a:xfrm>
            <a:off x="526943" y="5143411"/>
            <a:ext cx="5364895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7A1648-161E-B6C8-06CC-672430079CF4}"/>
              </a:ext>
            </a:extLst>
          </p:cNvPr>
          <p:cNvSpPr txBox="1">
            <a:spLocks/>
          </p:cNvSpPr>
          <p:nvPr/>
        </p:nvSpPr>
        <p:spPr bwMode="gray">
          <a:xfrm>
            <a:off x="526940" y="5462021"/>
            <a:ext cx="536489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tart a conversa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7821D44-392C-4A89-F344-8F0AA045BA61}"/>
              </a:ext>
            </a:extLst>
          </p:cNvPr>
          <p:cNvSpPr/>
          <p:nvPr/>
        </p:nvSpPr>
        <p:spPr>
          <a:xfrm>
            <a:off x="6404568" y="1886128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1F553C11-6EFE-ECBF-7550-65CC3B41AAF3}"/>
              </a:ext>
            </a:extLst>
          </p:cNvPr>
          <p:cNvSpPr txBox="1">
            <a:spLocks/>
          </p:cNvSpPr>
          <p:nvPr/>
        </p:nvSpPr>
        <p:spPr bwMode="gray">
          <a:xfrm>
            <a:off x="6549657" y="2044003"/>
            <a:ext cx="3327990" cy="2769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600" kern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questions – specifications, features and finance/insurance questions. 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600" kern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 questions – these can range from vague price questions, to requests for detailed pricing and trade-in.</a:t>
            </a:r>
          </a:p>
          <a:p>
            <a:pPr marL="285750" lvl="0" indent="-285750" defTabSz="913526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lang="en-US" sz="1600" kern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alership questions – including stock enquiries, opening hours and test drives.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4FDE70C-0318-5BEF-A24B-3CA87DB2B703}"/>
              </a:ext>
            </a:extLst>
          </p:cNvPr>
          <p:cNvCxnSpPr>
            <a:cxnSpLocks/>
          </p:cNvCxnSpPr>
          <p:nvPr/>
        </p:nvCxnSpPr>
        <p:spPr>
          <a:xfrm>
            <a:off x="5885286" y="5624441"/>
            <a:ext cx="51928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70541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</a:rPr>
              <a:t>QUALITY RESPONSE - EMAI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73973FF-C82F-86E6-ED54-B831ECD53F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856" y="1150256"/>
            <a:ext cx="7507969" cy="1779267"/>
          </a:xfrm>
          <a:prstGeom prst="rect">
            <a:avLst/>
          </a:prstGeom>
        </p:spPr>
      </p:pic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27086D11-8E07-8DCB-7152-7A694BC19367}"/>
              </a:ext>
            </a:extLst>
          </p:cNvPr>
          <p:cNvSpPr/>
          <p:nvPr/>
        </p:nvSpPr>
        <p:spPr>
          <a:xfrm>
            <a:off x="7195856" y="2821669"/>
            <a:ext cx="4255229" cy="2886075"/>
          </a:xfrm>
          <a:prstGeom prst="wedgeRoundRectCallout">
            <a:avLst>
              <a:gd name="adj1" fmla="val -75317"/>
              <a:gd name="adj2" fmla="val -47777"/>
              <a:gd name="adj3" fmla="val 16667"/>
            </a:avLst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899EC9"/>
            </a:solidFill>
            <a:prstDash val="solid"/>
          </a:ln>
          <a:effectLst/>
        </p:spPr>
        <p:txBody>
          <a:bodyPr rtlCol="0" anchor="ctr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Email Subject Line:</a:t>
            </a:r>
          </a:p>
          <a:p>
            <a:pPr marL="285750" marR="0" lvl="1" indent="-28575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B6CB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ncode Sans"/>
            </a:endParaRPr>
          </a:p>
          <a:p>
            <a:pPr marL="285750" marR="0" lvl="1" indent="-28575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Char char="•"/>
              <a:tabLst/>
              <a:defRPr/>
            </a:pPr>
            <a:r>
              <a:rPr lang="en-US" sz="1400" kern="0">
                <a:solidFill>
                  <a:srgbClr val="1B6CB3"/>
                </a:solidFill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A successful subject line has:</a:t>
            </a:r>
          </a:p>
          <a:p>
            <a:pPr marL="742950" lvl="2" indent="-285750">
              <a:spcBef>
                <a:spcPts val="500"/>
              </a:spcBef>
              <a:buClr>
                <a:srgbClr val="243782"/>
              </a:buClr>
              <a:buSzPts val="1500"/>
              <a:buFont typeface="Arial"/>
              <a:buChar char="•"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Clarity and Specificity</a:t>
            </a:r>
          </a:p>
          <a:p>
            <a:pPr marL="742950" lvl="2" indent="-285750">
              <a:spcBef>
                <a:spcPts val="500"/>
              </a:spcBef>
              <a:buClr>
                <a:srgbClr val="243782"/>
              </a:buClr>
              <a:buSzPts val="1500"/>
              <a:buFont typeface="Arial"/>
              <a:buChar char="•"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Urgency or Value Proposition</a:t>
            </a:r>
          </a:p>
          <a:p>
            <a:pPr marL="742950" lvl="2" indent="-285750">
              <a:spcBef>
                <a:spcPts val="500"/>
              </a:spcBef>
              <a:buClr>
                <a:srgbClr val="243782"/>
              </a:buClr>
              <a:buSzPts val="1500"/>
              <a:buFont typeface="Arial"/>
              <a:buChar char="•"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Personaliz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909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C1C57A-8698-898D-5421-15B4086669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0869"/>
          <a:stretch/>
        </p:blipFill>
        <p:spPr>
          <a:xfrm>
            <a:off x="323850" y="1441632"/>
            <a:ext cx="11332470" cy="1196465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7397EF82-CC71-1A66-7614-BA088B8070B0}"/>
              </a:ext>
            </a:extLst>
          </p:cNvPr>
          <p:cNvSpPr txBox="1">
            <a:spLocks/>
          </p:cNvSpPr>
          <p:nvPr/>
        </p:nvSpPr>
        <p:spPr>
          <a:xfrm>
            <a:off x="323850" y="187987"/>
            <a:ext cx="11544300" cy="380475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5BAA"/>
              </a:buClr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</a:rPr>
              <a:t>QUALITY RESPONSE - EMAIL</a:t>
            </a:r>
          </a:p>
        </p:txBody>
      </p: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27086D11-8E07-8DCB-7152-7A694BC19367}"/>
              </a:ext>
            </a:extLst>
          </p:cNvPr>
          <p:cNvSpPr/>
          <p:nvPr/>
        </p:nvSpPr>
        <p:spPr>
          <a:xfrm>
            <a:off x="6806342" y="2776866"/>
            <a:ext cx="3777575" cy="2886075"/>
          </a:xfrm>
          <a:prstGeom prst="wedgeRoundRectCallout">
            <a:avLst>
              <a:gd name="adj1" fmla="val -70221"/>
              <a:gd name="adj2" fmla="val -47091"/>
              <a:gd name="adj3" fmla="val 16667"/>
            </a:avLst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899EC9"/>
            </a:solidFill>
            <a:prstDash val="solid"/>
          </a:ln>
          <a:effectLst/>
        </p:spPr>
        <p:txBody>
          <a:bodyPr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Greeting &amp; Introduction: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B6CB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ncode San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Char char="•"/>
              <a:tabLst/>
              <a:defRPr/>
            </a:pPr>
            <a:r>
              <a:rPr lang="en-US" sz="1400" kern="0">
                <a:solidFill>
                  <a:srgbClr val="1B6CB3"/>
                </a:solidFill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Use a professional greeting addressing the customer by their nam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B6CB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ncode San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Introducing yourself and where you’re from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B6CB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ncode Sans"/>
              </a:rPr>
              <a:t>Convene excitement and that you’re excited to work with the custom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275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8emyrsxVN7Fn9gWiMUh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7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3"/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90"/>
  <p:tag name="ARTICULATE_NAV_LEVEL" val="1"/>
  <p:tag name="ARTICULATE_TOC_EXPANDED" val="True"/>
  <p:tag name="ARTICULATE_SLIDE_PRESENTER_GUID" val="554b9cf3-16c7-4dc8-afd5-014a918b0650"/>
  <p:tag name="ARTICULATE_SLIDE_PAUSE" val="1"/>
  <p:tag name="ARTICULATE_HIDE_SLIDE" val="0"/>
  <p:tag name="ARTICULATE_PLAYER_CONTROL_PREVIOUS" val="True"/>
  <p:tag name="ARTICULATE_PLAYER_CONTROL_NEXT" val="True"/>
  <p:tag name="ARTICULATE_USED_LAYOUT" val="8"/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Al-Futtaim Template 2025">
  <a:themeElements>
    <a:clrScheme name="Al-Futtaim_Colours">
      <a:dk1>
        <a:sysClr val="windowText" lastClr="000000"/>
      </a:dk1>
      <a:lt1>
        <a:sysClr val="window" lastClr="FFFFFF"/>
      </a:lt1>
      <a:dk2>
        <a:srgbClr val="0B1F41"/>
      </a:dk2>
      <a:lt2>
        <a:srgbClr val="FFFFFF"/>
      </a:lt2>
      <a:accent1>
        <a:srgbClr val="0B1F41"/>
      </a:accent1>
      <a:accent2>
        <a:srgbClr val="00AEEF"/>
      </a:accent2>
      <a:accent3>
        <a:srgbClr val="243754"/>
      </a:accent3>
      <a:accent4>
        <a:srgbClr val="E7E8E8"/>
      </a:accent4>
      <a:accent5>
        <a:srgbClr val="B3B3B3"/>
      </a:accent5>
      <a:accent6>
        <a:srgbClr val="7F7F7F"/>
      </a:accent6>
      <a:hlink>
        <a:srgbClr val="00AEEF"/>
      </a:hlink>
      <a:folHlink>
        <a:srgbClr val="0B1F41"/>
      </a:folHlink>
    </a:clrScheme>
    <a:fontScheme name="Al-Futtaim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lIns="108000" tIns="72000" rIns="108000" bIns="72000" rtlCol="0" anchor="t">
        <a:noAutofit/>
      </a:bodyPr>
      <a:lstStyle>
        <a:defPPr algn="l">
          <a:defRPr dirty="0" err="1">
            <a:solidFill>
              <a:schemeClr val="tx2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buClr>
            <a:schemeClr val="tx2"/>
          </a:buClr>
          <a:buFont typeface="Arial" panose="020B0604020202020204" pitchFamily="34" charset="0"/>
          <a:buChar char="•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l-Futtaim Template 2025" id="{B1702C14-6A40-44EC-8956-B35B4121F697}" vid="{A61187BB-98D3-4EF2-AABC-82EA5CA3E4E9}"/>
    </a:ext>
  </a:extLst>
</a:theme>
</file>

<file path=ppt/theme/theme2.xml><?xml version="1.0" encoding="utf-8"?>
<a:theme xmlns:a="http://schemas.openxmlformats.org/drawingml/2006/main" name="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Al Futtaim_CF_DE1410 1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9DCF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E2B687F4-C80B-429C-83E3-3A7977242714}" vid="{2ED9FEF6-438C-4F08-BC00-FC2DE24B45EF}"/>
    </a:ext>
  </a:extLst>
</a:theme>
</file>

<file path=ppt/theme/theme3.xml><?xml version="1.0" encoding="utf-8"?>
<a:theme xmlns:a="http://schemas.openxmlformats.org/drawingml/2006/main" name="Office Theme">
  <a:themeElements>
    <a:clrScheme name="Al-Futtaim_Colours">
      <a:dk1>
        <a:sysClr val="windowText" lastClr="000000"/>
      </a:dk1>
      <a:lt1>
        <a:sysClr val="window" lastClr="FFFFFF"/>
      </a:lt1>
      <a:dk2>
        <a:srgbClr val="0B1F41"/>
      </a:dk2>
      <a:lt2>
        <a:srgbClr val="FFFFFF"/>
      </a:lt2>
      <a:accent1>
        <a:srgbClr val="0B1F41"/>
      </a:accent1>
      <a:accent2>
        <a:srgbClr val="00AEEF"/>
      </a:accent2>
      <a:accent3>
        <a:srgbClr val="243754"/>
      </a:accent3>
      <a:accent4>
        <a:srgbClr val="E7E8E8"/>
      </a:accent4>
      <a:accent5>
        <a:srgbClr val="B3B3B3"/>
      </a:accent5>
      <a:accent6>
        <a:srgbClr val="7F7F7F"/>
      </a:accent6>
      <a:hlink>
        <a:srgbClr val="00AEEF"/>
      </a:hlink>
      <a:folHlink>
        <a:srgbClr val="0B1F41"/>
      </a:folHlink>
    </a:clrScheme>
    <a:fontScheme name="Al-Futtaim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Al-Futtaim_Colours">
      <a:dk1>
        <a:sysClr val="windowText" lastClr="000000"/>
      </a:dk1>
      <a:lt1>
        <a:sysClr val="window" lastClr="FFFFFF"/>
      </a:lt1>
      <a:dk2>
        <a:srgbClr val="0B1F41"/>
      </a:dk2>
      <a:lt2>
        <a:srgbClr val="FFFFFF"/>
      </a:lt2>
      <a:accent1>
        <a:srgbClr val="0B1F41"/>
      </a:accent1>
      <a:accent2>
        <a:srgbClr val="00AEEF"/>
      </a:accent2>
      <a:accent3>
        <a:srgbClr val="243754"/>
      </a:accent3>
      <a:accent4>
        <a:srgbClr val="E7E8E8"/>
      </a:accent4>
      <a:accent5>
        <a:srgbClr val="B3B3B3"/>
      </a:accent5>
      <a:accent6>
        <a:srgbClr val="7F7F7F"/>
      </a:accent6>
      <a:hlink>
        <a:srgbClr val="00AEEF"/>
      </a:hlink>
      <a:folHlink>
        <a:srgbClr val="0B1F41"/>
      </a:folHlink>
    </a:clrScheme>
    <a:fontScheme name="Al-Futtaim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C82D294E8B3E408D6789D5DB978365" ma:contentTypeVersion="17" ma:contentTypeDescription="Create a new document." ma:contentTypeScope="" ma:versionID="6ee320358f90c04651861a51e3fc31db">
  <xsd:schema xmlns:xsd="http://www.w3.org/2001/XMLSchema" xmlns:xs="http://www.w3.org/2001/XMLSchema" xmlns:p="http://schemas.microsoft.com/office/2006/metadata/properties" xmlns:ns2="b1dd8b74-5c72-4bed-9600-dc522257a853" xmlns:ns3="a52e92df-ef05-4178-9ff7-ae52c84e8b80" targetNamespace="http://schemas.microsoft.com/office/2006/metadata/properties" ma:root="true" ma:fieldsID="25a970a39b1f11a4dd3fc4de4bd6885b" ns2:_="" ns3:_="">
    <xsd:import namespace="b1dd8b74-5c72-4bed-9600-dc522257a853"/>
    <xsd:import namespace="a52e92df-ef05-4178-9ff7-ae52c84e8b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dd8b74-5c72-4bed-9600-dc522257a8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f333aa0-1660-4a69-b487-86ecbf4b4bc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2e92df-ef05-4178-9ff7-ae52c84e8b8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0c7a4276-aa78-46fd-88ea-7888c1f879c8}" ma:internalName="TaxCatchAll" ma:showField="CatchAllData" ma:web="a52e92df-ef05-4178-9ff7-ae52c84e8b8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52e92df-ef05-4178-9ff7-ae52c84e8b80" xsi:nil="true"/>
    <lcf76f155ced4ddcb4097134ff3c332f xmlns="b1dd8b74-5c72-4bed-9600-dc522257a85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323BB5A-4D71-49A6-907D-E67AEB78BD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dd8b74-5c72-4bed-9600-dc522257a853"/>
    <ds:schemaRef ds:uri="a52e92df-ef05-4178-9ff7-ae52c84e8b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7D51296-420A-4214-A5F8-04CEFE598FBD}">
  <ds:schemaRefs>
    <ds:schemaRef ds:uri="http://schemas.microsoft.com/office/2006/metadata/properties"/>
    <ds:schemaRef ds:uri="http://schemas.microsoft.com/office/infopath/2007/PartnerControls"/>
    <ds:schemaRef ds:uri="a52e92df-ef05-4178-9ff7-ae52c84e8b80"/>
    <ds:schemaRef ds:uri="b1dd8b74-5c72-4bed-9600-dc522257a853"/>
  </ds:schemaRefs>
</ds:datastoreItem>
</file>

<file path=customXml/itemProps3.xml><?xml version="1.0" encoding="utf-8"?>
<ds:datastoreItem xmlns:ds="http://schemas.openxmlformats.org/officeDocument/2006/customXml" ds:itemID="{1D0035E4-D41C-48B4-84BC-6356987FEAA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1</TotalTime>
  <Words>1893</Words>
  <Application>Microsoft Office PowerPoint</Application>
  <PresentationFormat>Widescreen</PresentationFormat>
  <Paragraphs>473</Paragraphs>
  <Slides>45</Slides>
  <Notes>4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5</vt:i4>
      </vt:variant>
    </vt:vector>
  </HeadingPairs>
  <TitlesOfParts>
    <vt:vector size="58" baseType="lpstr">
      <vt:lpstr>Arial</vt:lpstr>
      <vt:lpstr>Arial (Headings)</vt:lpstr>
      <vt:lpstr>Arial MT</vt:lpstr>
      <vt:lpstr>Aston Martin Flare Medium</vt:lpstr>
      <vt:lpstr>Aston Martin Sans</vt:lpstr>
      <vt:lpstr>Calibri</vt:lpstr>
      <vt:lpstr>Gotham Condensed Medium</vt:lpstr>
      <vt:lpstr>Symbol</vt:lpstr>
      <vt:lpstr>Verdana</vt:lpstr>
      <vt:lpstr>Al-Futtaim Template 2025</vt:lpstr>
      <vt:lpstr>Al Futtaim_CF_DE1410</vt:lpstr>
      <vt:lpstr>think-cell Folie</vt:lpstr>
      <vt:lpstr>think-cell Slide</vt:lpstr>
      <vt:lpstr>Sales Accreditation Summary Modules 1 &amp; 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Y IS GREETING CRITICAL IN THE FIRST MEETING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l Futtaim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liver Menebhi</dc:creator>
  <cp:lastModifiedBy>Fatma Alsagaf</cp:lastModifiedBy>
  <cp:revision>1</cp:revision>
  <dcterms:created xsi:type="dcterms:W3CDTF">2025-07-09T11:29:56Z</dcterms:created>
  <dcterms:modified xsi:type="dcterms:W3CDTF">2025-09-12T09:2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8b038a4-b690-439f-9fce-f9c106be0ae1_Enabled">
    <vt:lpwstr>true</vt:lpwstr>
  </property>
  <property fmtid="{D5CDD505-2E9C-101B-9397-08002B2CF9AE}" pid="3" name="MSIP_Label_a8b038a4-b690-439f-9fce-f9c106be0ae1_SetDate">
    <vt:lpwstr>2025-07-16T07:08:59Z</vt:lpwstr>
  </property>
  <property fmtid="{D5CDD505-2E9C-101B-9397-08002B2CF9AE}" pid="4" name="MSIP_Label_a8b038a4-b690-439f-9fce-f9c106be0ae1_Method">
    <vt:lpwstr>Standard</vt:lpwstr>
  </property>
  <property fmtid="{D5CDD505-2E9C-101B-9397-08002B2CF9AE}" pid="5" name="MSIP_Label_a8b038a4-b690-439f-9fce-f9c106be0ae1_Name">
    <vt:lpwstr>Restricted - No Encryption</vt:lpwstr>
  </property>
  <property fmtid="{D5CDD505-2E9C-101B-9397-08002B2CF9AE}" pid="6" name="MSIP_Label_a8b038a4-b690-439f-9fce-f9c106be0ae1_SiteId">
    <vt:lpwstr>79ddd250-40e1-4d41-ba0f-c9e9849725cb</vt:lpwstr>
  </property>
  <property fmtid="{D5CDD505-2E9C-101B-9397-08002B2CF9AE}" pid="7" name="MSIP_Label_a8b038a4-b690-439f-9fce-f9c106be0ae1_ActionId">
    <vt:lpwstr>25dd4954-0a76-4ab0-b81f-01bc6312342c</vt:lpwstr>
  </property>
  <property fmtid="{D5CDD505-2E9C-101B-9397-08002B2CF9AE}" pid="8" name="MSIP_Label_a8b038a4-b690-439f-9fce-f9c106be0ae1_ContentBits">
    <vt:lpwstr>2</vt:lpwstr>
  </property>
  <property fmtid="{D5CDD505-2E9C-101B-9397-08002B2CF9AE}" pid="9" name="MSIP_Label_a8b038a4-b690-439f-9fce-f9c106be0ae1_Tag">
    <vt:lpwstr>10, 1, 2, 1</vt:lpwstr>
  </property>
  <property fmtid="{D5CDD505-2E9C-101B-9397-08002B2CF9AE}" pid="10" name="ClassificationContentMarkingFooterLocations">
    <vt:lpwstr>Al-Futtaim Template 2025:8\Al Futtaim_CF_DE1410:4</vt:lpwstr>
  </property>
  <property fmtid="{D5CDD505-2E9C-101B-9397-08002B2CF9AE}" pid="11" name="ClassificationContentMarkingFooterText">
    <vt:lpwstr>Restricted : General Al-Futtaim Group</vt:lpwstr>
  </property>
  <property fmtid="{D5CDD505-2E9C-101B-9397-08002B2CF9AE}" pid="12" name="ContentTypeId">
    <vt:lpwstr>0x010100E2C82D294E8B3E408D6789D5DB978365</vt:lpwstr>
  </property>
</Properties>
</file>